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1.xml" ContentType="application/vnd.openxmlformats-officedocument.presentationml.notesSlide+xml"/>
  <Override PartName="/ppt/tags/tag38.xml" ContentType="application/vnd.openxmlformats-officedocument.presentationml.tags+xml"/>
  <Override PartName="/ppt/notesSlides/notesSlide12.xml" ContentType="application/vnd.openxmlformats-officedocument.presentationml.notesSlide+xml"/>
  <Override PartName="/ppt/tags/tag39.xml" ContentType="application/vnd.openxmlformats-officedocument.presentationml.tags+xml"/>
  <Override PartName="/ppt/notesSlides/notesSlide13.xml" ContentType="application/vnd.openxmlformats-officedocument.presentationml.notesSlide+xml"/>
  <Override PartName="/ppt/tags/tag40.xml" ContentType="application/vnd.openxmlformats-officedocument.presentationml.tags+xml"/>
  <Override PartName="/ppt/notesSlides/notesSlide14.xml" ContentType="application/vnd.openxmlformats-officedocument.presentationml.notesSlide+xml"/>
  <Override PartName="/ppt/tags/tag41.xml" ContentType="application/vnd.openxmlformats-officedocument.presentationml.tags+xml"/>
  <Override PartName="/ppt/notesSlides/notesSlide15.xml" ContentType="application/vnd.openxmlformats-officedocument.presentationml.notesSlide+xml"/>
  <Override PartName="/ppt/tags/tag42.xml" ContentType="application/vnd.openxmlformats-officedocument.presentationml.tags+xml"/>
  <Override PartName="/ppt/notesSlides/notesSlide16.xml" ContentType="application/vnd.openxmlformats-officedocument.presentationml.notesSlide+xml"/>
  <Override PartName="/ppt/tags/tag43.xml" ContentType="application/vnd.openxmlformats-officedocument.presentationml.tags+xml"/>
  <Override PartName="/ppt/notesSlides/notesSlide17.xml" ContentType="application/vnd.openxmlformats-officedocument.presentationml.notesSlide+xml"/>
  <Override PartName="/ppt/tags/tag44.xml" ContentType="application/vnd.openxmlformats-officedocument.presentationml.tags+xml"/>
  <Override PartName="/ppt/notesSlides/notesSlide1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9.xml" ContentType="application/vnd.openxmlformats-officedocument.presentationml.notesSlide+xml"/>
  <Override PartName="/ppt/tags/tag48.xml" ContentType="application/vnd.openxmlformats-officedocument.presentationml.tags+xml"/>
  <Override PartName="/ppt/notesSlides/notesSlide20.xml" ContentType="application/vnd.openxmlformats-officedocument.presentationml.notesSlide+xml"/>
  <Override PartName="/ppt/tags/tag49.xml" ContentType="application/vnd.openxmlformats-officedocument.presentationml.tags+xml"/>
  <Override PartName="/ppt/notesSlides/notesSlide21.xml" ContentType="application/vnd.openxmlformats-officedocument.presentationml.notesSlide+xml"/>
  <Override PartName="/ppt/tags/tag50.xml" ContentType="application/vnd.openxmlformats-officedocument.presentationml.tags+xml"/>
  <Override PartName="/ppt/notesSlides/notesSlide22.xml" ContentType="application/vnd.openxmlformats-officedocument.presentationml.notesSlide+xml"/>
  <Override PartName="/ppt/tags/tag51.xml" ContentType="application/vnd.openxmlformats-officedocument.presentationml.tags+xml"/>
  <Override PartName="/ppt/notesSlides/notesSlide23.xml" ContentType="application/vnd.openxmlformats-officedocument.presentationml.notesSlide+xml"/>
  <Override PartName="/ppt/tags/tag52.xml" ContentType="application/vnd.openxmlformats-officedocument.presentationml.tags+xml"/>
  <Override PartName="/ppt/notesSlides/notesSlide24.xml" ContentType="application/vnd.openxmlformats-officedocument.presentationml.notesSlide+xml"/>
  <Override PartName="/ppt/tags/tag53.xml" ContentType="application/vnd.openxmlformats-officedocument.presentationml.tags+xml"/>
  <Override PartName="/ppt/notesSlides/notesSlide25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6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27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28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29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30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31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32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33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34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35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36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37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38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39.xml" ContentType="application/vnd.openxmlformats-officedocument.presentationml.notesSl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40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41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42.xml" ContentType="application/vnd.openxmlformats-officedocument.presentationml.notesSlide+xml"/>
  <Override PartName="/ppt/tags/tag138.xml" ContentType="application/vnd.openxmlformats-officedocument.presentationml.tags+xml"/>
  <Override PartName="/ppt/notesSlides/notesSlide43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44.xml" ContentType="application/vnd.openxmlformats-officedocument.presentationml.notesSlide+xml"/>
  <Override PartName="/ppt/tags/tag144.xml" ContentType="application/vnd.openxmlformats-officedocument.presentationml.tags+xml"/>
  <Override PartName="/ppt/notesSlides/notesSlide45.xml" ContentType="application/vnd.openxmlformats-officedocument.presentationml.notesSlide+xml"/>
  <Override PartName="/ppt/tags/tag145.xml" ContentType="application/vnd.openxmlformats-officedocument.presentationml.tags+xml"/>
  <Override PartName="/ppt/notesSlides/notesSlide4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51"/>
  </p:notesMasterIdLst>
  <p:handoutMasterIdLst>
    <p:handoutMasterId r:id="rId52"/>
  </p:handoutMasterIdLst>
  <p:sldIdLst>
    <p:sldId id="305" r:id="rId2"/>
    <p:sldId id="281" r:id="rId3"/>
    <p:sldId id="314" r:id="rId4"/>
    <p:sldId id="308" r:id="rId5"/>
    <p:sldId id="313" r:id="rId6"/>
    <p:sldId id="360" r:id="rId7"/>
    <p:sldId id="361" r:id="rId8"/>
    <p:sldId id="373" r:id="rId9"/>
    <p:sldId id="315" r:id="rId10"/>
    <p:sldId id="358" r:id="rId11"/>
    <p:sldId id="365" r:id="rId12"/>
    <p:sldId id="364" r:id="rId13"/>
    <p:sldId id="366" r:id="rId14"/>
    <p:sldId id="369" r:id="rId15"/>
    <p:sldId id="370" r:id="rId16"/>
    <p:sldId id="371" r:id="rId17"/>
    <p:sldId id="316" r:id="rId18"/>
    <p:sldId id="372" r:id="rId19"/>
    <p:sldId id="353" r:id="rId20"/>
    <p:sldId id="317" r:id="rId21"/>
    <p:sldId id="335" r:id="rId22"/>
    <p:sldId id="355" r:id="rId23"/>
    <p:sldId id="356" r:id="rId24"/>
    <p:sldId id="375" r:id="rId25"/>
    <p:sldId id="318" r:id="rId26"/>
    <p:sldId id="337" r:id="rId27"/>
    <p:sldId id="330" r:id="rId28"/>
    <p:sldId id="329" r:id="rId29"/>
    <p:sldId id="331" r:id="rId30"/>
    <p:sldId id="376" r:id="rId31"/>
    <p:sldId id="333" r:id="rId32"/>
    <p:sldId id="340" r:id="rId33"/>
    <p:sldId id="362" r:id="rId34"/>
    <p:sldId id="336" r:id="rId35"/>
    <p:sldId id="338" r:id="rId36"/>
    <p:sldId id="332" r:id="rId37"/>
    <p:sldId id="341" r:id="rId38"/>
    <p:sldId id="342" r:id="rId39"/>
    <p:sldId id="343" r:id="rId40"/>
    <p:sldId id="339" r:id="rId41"/>
    <p:sldId id="344" r:id="rId42"/>
    <p:sldId id="345" r:id="rId43"/>
    <p:sldId id="346" r:id="rId44"/>
    <p:sldId id="347" r:id="rId45"/>
    <p:sldId id="348" r:id="rId46"/>
    <p:sldId id="349" r:id="rId47"/>
    <p:sldId id="350" r:id="rId48"/>
    <p:sldId id="319" r:id="rId49"/>
    <p:sldId id="326" r:id="rId50"/>
  </p:sldIdLst>
  <p:sldSz cx="12192000" cy="6858000"/>
  <p:notesSz cx="7104063" cy="10234613"/>
  <p:custDataLst>
    <p:tags r:id="rId5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F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8C3F84-4C29-4233-992B-2D26DEA7756B}" v="8564" dt="2023-12-08T10:28:08.851"/>
  </p1510:revLst>
</p1510:revInfo>
</file>

<file path=ppt/tableStyles.xml><?xml version="1.0" encoding="utf-8"?>
<a:tblStyleLst xmlns:a="http://schemas.openxmlformats.org/drawingml/2006/main" def="{1E171933-4619-4E11-9A3F-F7608DF75F80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llemlayout 1 - Markering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807" autoAdjust="0"/>
  </p:normalViewPr>
  <p:slideViewPr>
    <p:cSldViewPr snapToGrid="0" showGuides="1">
      <p:cViewPr varScale="1">
        <p:scale>
          <a:sx n="104" d="100"/>
          <a:sy n="104" d="100"/>
        </p:scale>
        <p:origin x="732" y="12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926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gs" Target="tags/tag1.xml"/><Relationship Id="rId58" Type="http://schemas.microsoft.com/office/2016/11/relationships/changesInfo" Target="changesInfos/changesInfo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bias Brammer" userId="80a1e1bd-3b82-47a5-b259-da62a397db92" providerId="ADAL" clId="{CC804E0E-B381-4A8C-832B-11046074747A}"/>
    <pc:docChg chg="undo custSel addSld delSld modSld sldOrd modMainMaster replTag modNotesMaster">
      <pc:chgData name="Tobias Brammer" userId="80a1e1bd-3b82-47a5-b259-da62a397db92" providerId="ADAL" clId="{CC804E0E-B381-4A8C-832B-11046074747A}" dt="2023-09-29T12:15:28.061" v="11875" actId="20577"/>
      <pc:docMkLst>
        <pc:docMk/>
      </pc:docMkLst>
      <pc:sldChg chg="addSp modSp mod modNotes">
        <pc:chgData name="Tobias Brammer" userId="80a1e1bd-3b82-47a5-b259-da62a397db92" providerId="ADAL" clId="{CC804E0E-B381-4A8C-832B-11046074747A}" dt="2023-09-27T09:46:46.057" v="10811" actId="1076"/>
        <pc:sldMkLst>
          <pc:docMk/>
          <pc:sldMk cId="2641621532" sldId="281"/>
        </pc:sldMkLst>
        <pc:spChg chg="mod">
          <ac:chgData name="Tobias Brammer" userId="80a1e1bd-3b82-47a5-b259-da62a397db92" providerId="ADAL" clId="{CC804E0E-B381-4A8C-832B-11046074747A}" dt="2023-09-27T07:47:25.262" v="1948" actId="948"/>
          <ac:spMkLst>
            <pc:docMk/>
            <pc:sldMk cId="2641621532" sldId="281"/>
            <ac:spMk id="2" creationId="{3C6F285B-6BE8-47BE-BAD4-8ACEEFC175A8}"/>
          </ac:spMkLst>
        </pc:spChg>
        <pc:spChg chg="add mod">
          <ac:chgData name="Tobias Brammer" userId="80a1e1bd-3b82-47a5-b259-da62a397db92" providerId="ADAL" clId="{CC804E0E-B381-4A8C-832B-11046074747A}" dt="2023-09-27T07:41:35.876" v="1753" actId="164"/>
          <ac:spMkLst>
            <pc:docMk/>
            <pc:sldMk cId="2641621532" sldId="281"/>
            <ac:spMk id="4" creationId="{17B773D2-7093-DA26-F33E-B2F587C7ADFD}"/>
          </ac:spMkLst>
        </pc:spChg>
        <pc:spChg chg="add mod">
          <ac:chgData name="Tobias Brammer" userId="80a1e1bd-3b82-47a5-b259-da62a397db92" providerId="ADAL" clId="{CC804E0E-B381-4A8C-832B-11046074747A}" dt="2023-09-27T07:44:45.529" v="1835" actId="20577"/>
          <ac:spMkLst>
            <pc:docMk/>
            <pc:sldMk cId="2641621532" sldId="281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7:40:49.790" v="1746" actId="164"/>
          <ac:spMkLst>
            <pc:docMk/>
            <pc:sldMk cId="2641621532" sldId="281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7:44:51.105" v="1839" actId="20577"/>
          <ac:spMkLst>
            <pc:docMk/>
            <pc:sldMk cId="2641621532" sldId="281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7:41:19.683" v="1748" actId="164"/>
          <ac:spMkLst>
            <pc:docMk/>
            <pc:sldMk cId="2641621532" sldId="281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7:44:49.721" v="1838" actId="20577"/>
          <ac:spMkLst>
            <pc:docMk/>
            <pc:sldMk cId="2641621532" sldId="281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7:41:47.478" v="1756" actId="164"/>
          <ac:spMkLst>
            <pc:docMk/>
            <pc:sldMk cId="2641621532" sldId="281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7:44:48.262" v="1837" actId="20577"/>
          <ac:spMkLst>
            <pc:docMk/>
            <pc:sldMk cId="2641621532" sldId="281"/>
            <ac:spMk id="11" creationId="{8EF3D609-41B5-4A56-8942-7DC08C4DC25A}"/>
          </ac:spMkLst>
        </pc:spChg>
        <pc:spChg chg="mod">
          <ac:chgData name="Tobias Brammer" userId="80a1e1bd-3b82-47a5-b259-da62a397db92" providerId="ADAL" clId="{CC804E0E-B381-4A8C-832B-11046074747A}" dt="2023-09-27T07:41:30.176" v="1751" actId="164"/>
          <ac:spMkLst>
            <pc:docMk/>
            <pc:sldMk cId="2641621532" sldId="281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7:44:47.017" v="1836" actId="20577"/>
          <ac:spMkLst>
            <pc:docMk/>
            <pc:sldMk cId="2641621532" sldId="281"/>
            <ac:spMk id="13" creationId="{50C5CCBA-0874-4BEE-99C2-CC4082D3A1FF}"/>
          </ac:spMkLst>
        </pc:spChg>
        <pc:spChg chg="add mod">
          <ac:chgData name="Tobias Brammer" userId="80a1e1bd-3b82-47a5-b259-da62a397db92" providerId="ADAL" clId="{CC804E0E-B381-4A8C-832B-11046074747A}" dt="2023-09-27T07:41:45.097" v="1755" actId="571"/>
          <ac:spMkLst>
            <pc:docMk/>
            <pc:sldMk cId="2641621532" sldId="281"/>
            <ac:spMk id="18" creationId="{66BC70B2-F69E-072B-651A-92370B8C4E0F}"/>
          </ac:spMkLst>
        </pc:spChg>
        <pc:spChg chg="add mod">
          <ac:chgData name="Tobias Brammer" userId="80a1e1bd-3b82-47a5-b259-da62a397db92" providerId="ADAL" clId="{CC804E0E-B381-4A8C-832B-11046074747A}" dt="2023-09-27T07:41:45.097" v="1755" actId="571"/>
          <ac:spMkLst>
            <pc:docMk/>
            <pc:sldMk cId="2641621532" sldId="281"/>
            <ac:spMk id="19" creationId="{A330310C-83DD-02CD-66DB-C8B1A596AC05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23" creationId="{62D40069-15AC-5C69-5224-3A8263D88E89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24" creationId="{6736DFBD-B194-6980-28E5-D51D69EC9CE3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26" creationId="{A2A2498E-536C-37A3-0B4F-452E4A35DF90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27" creationId="{EB87A24D-3A61-8FBF-2EAE-17E190C5C4FE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29" creationId="{BF35BC62-F672-0429-097C-DAD834DFEA52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30" creationId="{25E794F6-0BE5-879C-563A-DD20388C1DEA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32" creationId="{9AC56617-4B2B-3761-59AF-FC7F9F170003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33" creationId="{2120B3B7-8BEF-5D57-CB9F-7E51D89E46BC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35" creationId="{7BBB52CD-B5A0-7FFB-5A01-17D8986D918B}"/>
          </ac:spMkLst>
        </pc:spChg>
        <pc:spChg chg="mod">
          <ac:chgData name="Tobias Brammer" userId="80a1e1bd-3b82-47a5-b259-da62a397db92" providerId="ADAL" clId="{CC804E0E-B381-4A8C-832B-11046074747A}" dt="2023-09-27T07:41:54.182" v="1758" actId="571"/>
          <ac:spMkLst>
            <pc:docMk/>
            <pc:sldMk cId="2641621532" sldId="281"/>
            <ac:spMk id="36" creationId="{95E393E3-412F-5218-4FF9-452F19661D13}"/>
          </ac:spMkLst>
        </pc:spChg>
        <pc:spChg chg="mod">
          <ac:chgData name="Tobias Brammer" userId="80a1e1bd-3b82-47a5-b259-da62a397db92" providerId="ADAL" clId="{CC804E0E-B381-4A8C-832B-11046074747A}" dt="2023-09-27T07:44:00.814" v="1815" actId="571"/>
          <ac:spMkLst>
            <pc:docMk/>
            <pc:sldMk cId="2641621532" sldId="281"/>
            <ac:spMk id="38" creationId="{0F69AEB1-70B9-DDC2-1D65-B598EDAFEE86}"/>
          </ac:spMkLst>
        </pc:spChg>
        <pc:spChg chg="mod">
          <ac:chgData name="Tobias Brammer" userId="80a1e1bd-3b82-47a5-b259-da62a397db92" providerId="ADAL" clId="{CC804E0E-B381-4A8C-832B-11046074747A}" dt="2023-09-27T07:44:00.814" v="1815" actId="571"/>
          <ac:spMkLst>
            <pc:docMk/>
            <pc:sldMk cId="2641621532" sldId="281"/>
            <ac:spMk id="39" creationId="{B60FFE8B-0CB6-75E7-6614-1A86EA33FA46}"/>
          </ac:spMkLst>
        </pc:spChg>
        <pc:spChg chg="mod">
          <ac:chgData name="Tobias Brammer" userId="80a1e1bd-3b82-47a5-b259-da62a397db92" providerId="ADAL" clId="{CC804E0E-B381-4A8C-832B-11046074747A}" dt="2023-09-27T07:44:00.814" v="1815" actId="571"/>
          <ac:spMkLst>
            <pc:docMk/>
            <pc:sldMk cId="2641621532" sldId="281"/>
            <ac:spMk id="41" creationId="{5491C0E5-7A3A-B9B2-768D-1935CC1531BD}"/>
          </ac:spMkLst>
        </pc:spChg>
        <pc:spChg chg="mod">
          <ac:chgData name="Tobias Brammer" userId="80a1e1bd-3b82-47a5-b259-da62a397db92" providerId="ADAL" clId="{CC804E0E-B381-4A8C-832B-11046074747A}" dt="2023-09-27T07:44:00.814" v="1815" actId="571"/>
          <ac:spMkLst>
            <pc:docMk/>
            <pc:sldMk cId="2641621532" sldId="281"/>
            <ac:spMk id="42" creationId="{CE01CB96-6689-30DE-1746-42C93BE6BC95}"/>
          </ac:spMkLst>
        </pc:spChg>
        <pc:spChg chg="mod">
          <ac:chgData name="Tobias Brammer" userId="80a1e1bd-3b82-47a5-b259-da62a397db92" providerId="ADAL" clId="{CC804E0E-B381-4A8C-832B-11046074747A}" dt="2023-09-27T07:44:36.846" v="1831" actId="20577"/>
          <ac:spMkLst>
            <pc:docMk/>
            <pc:sldMk cId="2641621532" sldId="281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7:44:43.901" v="1834" actId="20577"/>
          <ac:spMkLst>
            <pc:docMk/>
            <pc:sldMk cId="2641621532" sldId="281"/>
            <ac:spMk id="45" creationId="{7D44CCBE-33B5-1195-B0AA-7EE1E6AD8555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47" creationId="{671B7100-4980-3B4A-7840-FFB37CA8AFBF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48" creationId="{FB795917-FBAE-B94C-C040-3E146C6A39B3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50" creationId="{40DAB4CE-AE03-769B-ABD6-4678C799FEC3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51" creationId="{3A9BC99C-9CCB-E689-A369-A5C5C6076A4D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53" creationId="{ED6CC9FB-FC7F-D8A0-5F6E-B1BA98C6C915}"/>
          </ac:spMkLst>
        </pc:spChg>
        <pc:spChg chg="mod">
          <ac:chgData name="Tobias Brammer" userId="80a1e1bd-3b82-47a5-b259-da62a397db92" providerId="ADAL" clId="{CC804E0E-B381-4A8C-832B-11046074747A}" dt="2023-09-27T07:44:59.443" v="1842" actId="571"/>
          <ac:spMkLst>
            <pc:docMk/>
            <pc:sldMk cId="2641621532" sldId="281"/>
            <ac:spMk id="54" creationId="{C2EEBE94-CF2B-2853-4C38-97D9B9C881EA}"/>
          </ac:spMkLst>
        </pc:s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14" creationId="{7CEE374C-5917-09BD-B5D9-107D1E3A6ED2}"/>
          </ac:grpSpMkLst>
        </pc:gr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15" creationId="{31A07AD4-F313-5F14-03C6-7AE238C5F9A2}"/>
          </ac:grpSpMkLst>
        </pc:gr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16" creationId="{15E5C138-4E2B-EF16-84F2-7070BB9B97CE}"/>
          </ac:grpSpMkLst>
        </pc:gr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17" creationId="{5C0F3608-73C1-89D6-DD55-D3BBE3D0DAC4}"/>
          </ac:grpSpMkLst>
        </pc:gr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20" creationId="{A6020B42-58A9-EAE4-26F1-5165CA82BFCC}"/>
          </ac:grpSpMkLst>
        </pc:grpChg>
        <pc:grpChg chg="add mod">
          <ac:chgData name="Tobias Brammer" userId="80a1e1bd-3b82-47a5-b259-da62a397db92" providerId="ADAL" clId="{CC804E0E-B381-4A8C-832B-11046074747A}" dt="2023-09-27T07:41:54.182" v="1758" actId="571"/>
          <ac:grpSpMkLst>
            <pc:docMk/>
            <pc:sldMk cId="2641621532" sldId="281"/>
            <ac:grpSpMk id="21" creationId="{170E333F-FC1E-EF4D-49CE-A51EC051D293}"/>
          </ac:grpSpMkLst>
        </pc:grpChg>
        <pc:grpChg chg="add mod">
          <ac:chgData name="Tobias Brammer" userId="80a1e1bd-3b82-47a5-b259-da62a397db92" providerId="ADAL" clId="{CC804E0E-B381-4A8C-832B-11046074747A}" dt="2023-09-27T07:41:54.182" v="1758" actId="571"/>
          <ac:grpSpMkLst>
            <pc:docMk/>
            <pc:sldMk cId="2641621532" sldId="281"/>
            <ac:grpSpMk id="25" creationId="{48D3E07F-EF1D-516B-D768-413DBFFB30C0}"/>
          </ac:grpSpMkLst>
        </pc:grpChg>
        <pc:grpChg chg="add mod">
          <ac:chgData name="Tobias Brammer" userId="80a1e1bd-3b82-47a5-b259-da62a397db92" providerId="ADAL" clId="{CC804E0E-B381-4A8C-832B-11046074747A}" dt="2023-09-27T07:41:54.182" v="1758" actId="571"/>
          <ac:grpSpMkLst>
            <pc:docMk/>
            <pc:sldMk cId="2641621532" sldId="281"/>
            <ac:grpSpMk id="28" creationId="{3394412A-D300-F311-5AA1-2CD8F4FCB5EC}"/>
          </ac:grpSpMkLst>
        </pc:grpChg>
        <pc:grpChg chg="add mod">
          <ac:chgData name="Tobias Brammer" userId="80a1e1bd-3b82-47a5-b259-da62a397db92" providerId="ADAL" clId="{CC804E0E-B381-4A8C-832B-11046074747A}" dt="2023-09-27T07:41:54.182" v="1758" actId="571"/>
          <ac:grpSpMkLst>
            <pc:docMk/>
            <pc:sldMk cId="2641621532" sldId="281"/>
            <ac:grpSpMk id="31" creationId="{78ED1465-9174-EAE2-3147-A4B5F8F5630F}"/>
          </ac:grpSpMkLst>
        </pc:grpChg>
        <pc:grpChg chg="add mod">
          <ac:chgData name="Tobias Brammer" userId="80a1e1bd-3b82-47a5-b259-da62a397db92" providerId="ADAL" clId="{CC804E0E-B381-4A8C-832B-11046074747A}" dt="2023-09-27T07:41:54.182" v="1758" actId="571"/>
          <ac:grpSpMkLst>
            <pc:docMk/>
            <pc:sldMk cId="2641621532" sldId="281"/>
            <ac:grpSpMk id="34" creationId="{123DA83F-9A38-D0E7-3946-1CFDD27FE64E}"/>
          </ac:grpSpMkLst>
        </pc:grpChg>
        <pc:grpChg chg="add mod">
          <ac:chgData name="Tobias Brammer" userId="80a1e1bd-3b82-47a5-b259-da62a397db92" providerId="ADAL" clId="{CC804E0E-B381-4A8C-832B-11046074747A}" dt="2023-09-27T07:44:00.814" v="1815" actId="571"/>
          <ac:grpSpMkLst>
            <pc:docMk/>
            <pc:sldMk cId="2641621532" sldId="281"/>
            <ac:grpSpMk id="37" creationId="{C8D735D6-45DC-D629-FA15-E32185C4B584}"/>
          </ac:grpSpMkLst>
        </pc:grpChg>
        <pc:grpChg chg="add mod">
          <ac:chgData name="Tobias Brammer" userId="80a1e1bd-3b82-47a5-b259-da62a397db92" providerId="ADAL" clId="{CC804E0E-B381-4A8C-832B-11046074747A}" dt="2023-09-27T07:44:00.814" v="1815" actId="571"/>
          <ac:grpSpMkLst>
            <pc:docMk/>
            <pc:sldMk cId="2641621532" sldId="281"/>
            <ac:grpSpMk id="40" creationId="{189B04F0-E999-D509-97C9-94C71FEA7D8A}"/>
          </ac:grpSpMkLst>
        </pc:grpChg>
        <pc:grpChg chg="add mod">
          <ac:chgData name="Tobias Brammer" userId="80a1e1bd-3b82-47a5-b259-da62a397db92" providerId="ADAL" clId="{CC804E0E-B381-4A8C-832B-11046074747A}" dt="2023-09-27T07:45:24.707" v="1850" actId="552"/>
          <ac:grpSpMkLst>
            <pc:docMk/>
            <pc:sldMk cId="2641621532" sldId="281"/>
            <ac:grpSpMk id="43" creationId="{A746D0A9-077D-3E6F-A06F-DCF1AEF966A3}"/>
          </ac:grpSpMkLst>
        </pc:grpChg>
        <pc:grpChg chg="add mod">
          <ac:chgData name="Tobias Brammer" userId="80a1e1bd-3b82-47a5-b259-da62a397db92" providerId="ADAL" clId="{CC804E0E-B381-4A8C-832B-11046074747A}" dt="2023-09-27T07:44:59.443" v="1842" actId="571"/>
          <ac:grpSpMkLst>
            <pc:docMk/>
            <pc:sldMk cId="2641621532" sldId="281"/>
            <ac:grpSpMk id="46" creationId="{0C1A959D-BAEE-31D0-3A16-4F027BF5EF0C}"/>
          </ac:grpSpMkLst>
        </pc:grpChg>
        <pc:grpChg chg="add mod">
          <ac:chgData name="Tobias Brammer" userId="80a1e1bd-3b82-47a5-b259-da62a397db92" providerId="ADAL" clId="{CC804E0E-B381-4A8C-832B-11046074747A}" dt="2023-09-27T07:44:59.443" v="1842" actId="571"/>
          <ac:grpSpMkLst>
            <pc:docMk/>
            <pc:sldMk cId="2641621532" sldId="281"/>
            <ac:grpSpMk id="49" creationId="{90E828F7-37C9-BFBC-167A-4CB78D7EE591}"/>
          </ac:grpSpMkLst>
        </pc:grpChg>
        <pc:grpChg chg="add mod">
          <ac:chgData name="Tobias Brammer" userId="80a1e1bd-3b82-47a5-b259-da62a397db92" providerId="ADAL" clId="{CC804E0E-B381-4A8C-832B-11046074747A}" dt="2023-09-27T07:44:59.443" v="1842" actId="571"/>
          <ac:grpSpMkLst>
            <pc:docMk/>
            <pc:sldMk cId="2641621532" sldId="281"/>
            <ac:grpSpMk id="52" creationId="{3399D3AF-1248-A045-AC67-8AD932F7F445}"/>
          </ac:grpSpMkLst>
        </pc:grpChg>
        <pc:graphicFrameChg chg="mod">
          <ac:chgData name="Tobias Brammer" userId="80a1e1bd-3b82-47a5-b259-da62a397db92" providerId="ADAL" clId="{CC804E0E-B381-4A8C-832B-11046074747A}" dt="2023-09-27T07:47:25.262" v="1952"/>
          <ac:graphicFrameMkLst>
            <pc:docMk/>
            <pc:sldMk cId="2641621532" sldId="281"/>
            <ac:graphicFrameMk id="3" creationId="{AB86B848-EDE9-F4A9-108A-F58D243B51C5}"/>
          </ac:graphicFrameMkLst>
        </pc:graphicFrameChg>
        <pc:picChg chg="mod">
          <ac:chgData name="Tobias Brammer" userId="80a1e1bd-3b82-47a5-b259-da62a397db92" providerId="ADAL" clId="{CC804E0E-B381-4A8C-832B-11046074747A}" dt="2023-09-27T09:46:46.057" v="10811" actId="1076"/>
          <ac:picMkLst>
            <pc:docMk/>
            <pc:sldMk cId="2641621532" sldId="281"/>
            <ac:picMk id="22" creationId="{5CEAF9BE-0C77-42EF-A843-2DD67A37E7E0}"/>
          </ac:picMkLst>
        </pc:picChg>
      </pc:sldChg>
      <pc:sldChg chg="addSp delSp modSp mod modNotes modNotesTx">
        <pc:chgData name="Tobias Brammer" userId="80a1e1bd-3b82-47a5-b259-da62a397db92" providerId="ADAL" clId="{CC804E0E-B381-4A8C-832B-11046074747A}" dt="2023-09-27T09:48:57.062" v="10831" actId="29295"/>
        <pc:sldMkLst>
          <pc:docMk/>
          <pc:sldMk cId="1982481699" sldId="305"/>
        </pc:sldMkLst>
        <pc:spChg chg="add del mod modVis">
          <ac:chgData name="Tobias Brammer" userId="80a1e1bd-3b82-47a5-b259-da62a397db92" providerId="ADAL" clId="{CC804E0E-B381-4A8C-832B-11046074747A}" dt="2023-09-27T07:38:14.940" v="73"/>
          <ac:spMkLst>
            <pc:docMk/>
            <pc:sldMk cId="1982481699" sldId="305"/>
            <ac:spMk id="3" creationId="{6F9CC8FD-74E0-9461-6DD4-B537A8D62265}"/>
          </ac:spMkLst>
        </pc:spChg>
        <pc:spChg chg="add del mod modVis">
          <ac:chgData name="Tobias Brammer" userId="80a1e1bd-3b82-47a5-b259-da62a397db92" providerId="ADAL" clId="{CC804E0E-B381-4A8C-832B-11046074747A}" dt="2023-09-27T07:38:15.648" v="120"/>
          <ac:spMkLst>
            <pc:docMk/>
            <pc:sldMk cId="1982481699" sldId="305"/>
            <ac:spMk id="4" creationId="{AD84FF8E-D357-D9BB-E31E-FC6A9C65D363}"/>
          </ac:spMkLst>
        </pc:spChg>
        <pc:spChg chg="add del mod modVis">
          <ac:chgData name="Tobias Brammer" userId="80a1e1bd-3b82-47a5-b259-da62a397db92" providerId="ADAL" clId="{CC804E0E-B381-4A8C-832B-11046074747A}" dt="2023-09-27T07:38:16.651" v="168"/>
          <ac:spMkLst>
            <pc:docMk/>
            <pc:sldMk cId="1982481699" sldId="305"/>
            <ac:spMk id="5" creationId="{6A983C18-EBCF-807E-B7FB-7AFBA5A8F7EF}"/>
          </ac:spMkLst>
        </pc:spChg>
        <pc:spChg chg="add del mod modVis">
          <ac:chgData name="Tobias Brammer" userId="80a1e1bd-3b82-47a5-b259-da62a397db92" providerId="ADAL" clId="{CC804E0E-B381-4A8C-832B-11046074747A}" dt="2023-09-27T07:38:17.278" v="214"/>
          <ac:spMkLst>
            <pc:docMk/>
            <pc:sldMk cId="1982481699" sldId="305"/>
            <ac:spMk id="6" creationId="{49648365-C9B4-C0DF-2447-0B7766035CFE}"/>
          </ac:spMkLst>
        </pc:spChg>
        <pc:spChg chg="mod">
          <ac:chgData name="Tobias Brammer" userId="80a1e1bd-3b82-47a5-b259-da62a397db92" providerId="ADAL" clId="{CC804E0E-B381-4A8C-832B-11046074747A}" dt="2023-09-27T07:39:01.591" v="367" actId="947"/>
          <ac:spMkLst>
            <pc:docMk/>
            <pc:sldMk cId="1982481699" sldId="305"/>
            <ac:spMk id="7" creationId="{0B924460-1A6C-4030-8DE0-387B74186E08}"/>
          </ac:spMkLst>
        </pc:spChg>
        <pc:spChg chg="mod">
          <ac:chgData name="Tobias Brammer" userId="80a1e1bd-3b82-47a5-b259-da62a397db92" providerId="ADAL" clId="{CC804E0E-B381-4A8C-832B-11046074747A}" dt="2023-09-27T07:39:01.591" v="371" actId="20577"/>
          <ac:spMkLst>
            <pc:docMk/>
            <pc:sldMk cId="1982481699" sldId="305"/>
            <ac:spMk id="8" creationId="{08D4D0AD-0A75-4D15-8D92-457BD4B8F7BE}"/>
          </ac:spMkLst>
        </pc:spChg>
        <pc:spChg chg="add del mod modVis">
          <ac:chgData name="Tobias Brammer" userId="80a1e1bd-3b82-47a5-b259-da62a397db92" providerId="ADAL" clId="{CC804E0E-B381-4A8C-832B-11046074747A}" dt="2023-09-27T07:38:19.636" v="269"/>
          <ac:spMkLst>
            <pc:docMk/>
            <pc:sldMk cId="1982481699" sldId="305"/>
            <ac:spMk id="9" creationId="{8244C9F8-9BD2-5885-6141-F934E6918A38}"/>
          </ac:spMkLst>
        </pc:spChg>
        <pc:spChg chg="add del mod modVis">
          <ac:chgData name="Tobias Brammer" userId="80a1e1bd-3b82-47a5-b259-da62a397db92" providerId="ADAL" clId="{CC804E0E-B381-4A8C-832B-11046074747A}" dt="2023-09-27T07:38:23.479" v="314"/>
          <ac:spMkLst>
            <pc:docMk/>
            <pc:sldMk cId="1982481699" sldId="305"/>
            <ac:spMk id="10" creationId="{40126A5C-7800-FC69-A626-4B8CA82B2A57}"/>
          </ac:spMkLst>
        </pc:spChg>
        <pc:spChg chg="add del mod modVis">
          <ac:chgData name="Tobias Brammer" userId="80a1e1bd-3b82-47a5-b259-da62a397db92" providerId="ADAL" clId="{CC804E0E-B381-4A8C-832B-11046074747A}" dt="2023-09-27T07:39:03.687" v="1619"/>
          <ac:spMkLst>
            <pc:docMk/>
            <pc:sldMk cId="1982481699" sldId="305"/>
            <ac:spMk id="11" creationId="{DB4386F7-FB99-6FCB-6BE1-24A84B40507E}"/>
          </ac:spMkLst>
        </pc:spChg>
        <pc:spChg chg="add del mod modVis">
          <ac:chgData name="Tobias Brammer" userId="80a1e1bd-3b82-47a5-b259-da62a397db92" providerId="ADAL" clId="{CC804E0E-B381-4A8C-832B-11046074747A}" dt="2023-09-27T09:42:37.043" v="10604"/>
          <ac:spMkLst>
            <pc:docMk/>
            <pc:sldMk cId="1982481699" sldId="305"/>
            <ac:spMk id="12" creationId="{213A12B4-CA7C-6DFD-B013-05BA22D43AC2}"/>
          </ac:spMkLst>
        </pc:spChg>
        <pc:spChg chg="add del mod modVis">
          <ac:chgData name="Tobias Brammer" userId="80a1e1bd-3b82-47a5-b259-da62a397db92" providerId="ADAL" clId="{CC804E0E-B381-4A8C-832B-11046074747A}" dt="2023-09-27T09:42:37.976" v="10650"/>
          <ac:spMkLst>
            <pc:docMk/>
            <pc:sldMk cId="1982481699" sldId="305"/>
            <ac:spMk id="13" creationId="{B6FF0C2B-7AC2-9D95-0249-82C89A64A11A}"/>
          </ac:spMkLst>
        </pc:spChg>
        <pc:spChg chg="add del mod modVis">
          <ac:chgData name="Tobias Brammer" userId="80a1e1bd-3b82-47a5-b259-da62a397db92" providerId="ADAL" clId="{CC804E0E-B381-4A8C-832B-11046074747A}" dt="2023-09-27T09:42:41.438" v="10713"/>
          <ac:spMkLst>
            <pc:docMk/>
            <pc:sldMk cId="1982481699" sldId="305"/>
            <ac:spMk id="14" creationId="{24D72D7D-B15B-AB3F-DDE8-3B70171FFF60}"/>
          </ac:spMkLst>
        </pc:spChg>
        <pc:spChg chg="add del mod modVis">
          <ac:chgData name="Tobias Brammer" userId="80a1e1bd-3b82-47a5-b259-da62a397db92" providerId="ADAL" clId="{CC804E0E-B381-4A8C-832B-11046074747A}" dt="2023-09-27T09:42:44.690" v="10758"/>
          <ac:spMkLst>
            <pc:docMk/>
            <pc:sldMk cId="1982481699" sldId="305"/>
            <ac:spMk id="15" creationId="{4AAE91D4-C0F9-C819-2469-3E687E3D45C7}"/>
          </ac:spMkLst>
        </pc:spChg>
        <pc:spChg chg="add del mod modVis">
          <ac:chgData name="Tobias Brammer" userId="80a1e1bd-3b82-47a5-b259-da62a397db92" providerId="ADAL" clId="{CC804E0E-B381-4A8C-832B-11046074747A}" dt="2023-09-27T09:42:48.638" v="10804"/>
          <ac:spMkLst>
            <pc:docMk/>
            <pc:sldMk cId="1982481699" sldId="305"/>
            <ac:spMk id="16" creationId="{326A8D55-A185-C415-5110-228847D97C6C}"/>
          </ac:spMkLst>
        </pc:spChg>
        <pc:spChg chg="add del mod">
          <ac:chgData name="Tobias Brammer" userId="80a1e1bd-3b82-47a5-b259-da62a397db92" providerId="ADAL" clId="{CC804E0E-B381-4A8C-832B-11046074747A}" dt="2023-09-27T09:48:35.862" v="10829" actId="478"/>
          <ac:spMkLst>
            <pc:docMk/>
            <pc:sldMk cId="1982481699" sldId="305"/>
            <ac:spMk id="18" creationId="{C811492E-B758-0C91-AE1F-B678E0F46D78}"/>
          </ac:spMkLst>
        </pc:spChg>
        <pc:spChg chg="mod">
          <ac:chgData name="Tobias Brammer" userId="80a1e1bd-3b82-47a5-b259-da62a397db92" providerId="ADAL" clId="{CC804E0E-B381-4A8C-832B-11046074747A}" dt="2023-09-27T09:42:48.620" v="10763" actId="948"/>
          <ac:spMkLst>
            <pc:docMk/>
            <pc:sldMk cId="1982481699" sldId="305"/>
            <ac:spMk id="54" creationId="{80FB860F-3E3A-43EB-B273-14B2246A3D66}"/>
          </ac:spMkLst>
        </pc:spChg>
        <pc:graphicFrameChg chg="mod">
          <ac:chgData name="Tobias Brammer" userId="80a1e1bd-3b82-47a5-b259-da62a397db92" providerId="ADAL" clId="{CC804E0E-B381-4A8C-832B-11046074747A}" dt="2023-09-27T09:42:48.638" v="10806"/>
          <ac:graphicFrameMkLst>
            <pc:docMk/>
            <pc:sldMk cId="1982481699" sldId="305"/>
            <ac:graphicFrameMk id="2" creationId="{3C5B1A34-4CF2-0504-3BE2-26A1E21AF65D}"/>
          </ac:graphicFrameMkLst>
        </pc:graphicFrameChg>
        <pc:picChg chg="add del mod">
          <ac:chgData name="Tobias Brammer" userId="80a1e1bd-3b82-47a5-b259-da62a397db92" providerId="ADAL" clId="{CC804E0E-B381-4A8C-832B-11046074747A}" dt="2023-09-27T09:48:35.360" v="10828" actId="931"/>
          <ac:picMkLst>
            <pc:docMk/>
            <pc:sldMk cId="1982481699" sldId="305"/>
            <ac:picMk id="20" creationId="{E3205C9B-D3A0-219A-4B28-696D0A8B1BB9}"/>
          </ac:picMkLst>
        </pc:picChg>
        <pc:picChg chg="add del mod">
          <ac:chgData name="Tobias Brammer" userId="80a1e1bd-3b82-47a5-b259-da62a397db92" providerId="ADAL" clId="{CC804E0E-B381-4A8C-832B-11046074747A}" dt="2023-09-27T09:48:57.062" v="10831" actId="29295"/>
          <ac:picMkLst>
            <pc:docMk/>
            <pc:sldMk cId="1982481699" sldId="305"/>
            <ac:picMk id="44" creationId="{300612C0-B09C-4184-9B47-184F0D0789C7}"/>
          </ac:picMkLst>
        </pc:picChg>
      </pc:sldChg>
      <pc:sldChg chg="addSp delSp modSp mod ord chgLayout modNotes">
        <pc:chgData name="Tobias Brammer" userId="80a1e1bd-3b82-47a5-b259-da62a397db92" providerId="ADAL" clId="{CC804E0E-B381-4A8C-832B-11046074747A}" dt="2023-09-27T09:42:05.848" v="10548"/>
        <pc:sldMkLst>
          <pc:docMk/>
          <pc:sldMk cId="2678748836" sldId="308"/>
        </pc:sldMkLst>
        <pc:spChg chg="mod ord">
          <ac:chgData name="Tobias Brammer" userId="80a1e1bd-3b82-47a5-b259-da62a397db92" providerId="ADAL" clId="{CC804E0E-B381-4A8C-832B-11046074747A}" dt="2023-09-27T09:42:05.817" v="10505" actId="948"/>
          <ac:spMkLst>
            <pc:docMk/>
            <pc:sldMk cId="2678748836" sldId="308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CC804E0E-B381-4A8C-832B-11046074747A}" dt="2023-09-27T07:51:07.096" v="2277"/>
          <ac:spMkLst>
            <pc:docMk/>
            <pc:sldMk cId="2678748836" sldId="308"/>
            <ac:spMk id="4" creationId="{AABD0640-03C3-85A5-42DD-CDEE276A711C}"/>
          </ac:spMkLst>
        </pc:spChg>
        <pc:spChg chg="add del mod modVis">
          <ac:chgData name="Tobias Brammer" userId="80a1e1bd-3b82-47a5-b259-da62a397db92" providerId="ADAL" clId="{CC804E0E-B381-4A8C-832B-11046074747A}" dt="2023-09-27T07:51:13.154" v="2324"/>
          <ac:spMkLst>
            <pc:docMk/>
            <pc:sldMk cId="2678748836" sldId="308"/>
            <ac:spMk id="5" creationId="{4B20CE5C-4D2F-327B-8181-F3CEEC35AEA8}"/>
          </ac:spMkLst>
        </pc:spChg>
        <pc:spChg chg="del mod ord">
          <ac:chgData name="Tobias Brammer" userId="80a1e1bd-3b82-47a5-b259-da62a397db92" providerId="ADAL" clId="{CC804E0E-B381-4A8C-832B-11046074747A}" dt="2023-09-27T07:51:27.711" v="2372" actId="478"/>
          <ac:spMkLst>
            <pc:docMk/>
            <pc:sldMk cId="2678748836" sldId="308"/>
            <ac:spMk id="6" creationId="{8FC4456C-8838-4F8B-8B1E-95CBD5B2E38B}"/>
          </ac:spMkLst>
        </pc:spChg>
        <pc:spChg chg="add del mod modVis">
          <ac:chgData name="Tobias Brammer" userId="80a1e1bd-3b82-47a5-b259-da62a397db92" providerId="ADAL" clId="{CC804E0E-B381-4A8C-832B-11046074747A}" dt="2023-09-27T07:51:14.095" v="2369"/>
          <ac:spMkLst>
            <pc:docMk/>
            <pc:sldMk cId="2678748836" sldId="308"/>
            <ac:spMk id="7" creationId="{E935A656-534D-AF85-21C5-9600E5D99D19}"/>
          </ac:spMkLst>
        </pc:spChg>
        <pc:spChg chg="add mod">
          <ac:chgData name="Tobias Brammer" userId="80a1e1bd-3b82-47a5-b259-da62a397db92" providerId="ADAL" clId="{CC804E0E-B381-4A8C-832B-11046074747A}" dt="2023-09-27T07:51:27.711" v="2372" actId="478"/>
          <ac:spMkLst>
            <pc:docMk/>
            <pc:sldMk cId="2678748836" sldId="308"/>
            <ac:spMk id="9" creationId="{4CA452FA-BA94-3A20-0CC0-D01DB3A19019}"/>
          </ac:spMkLst>
        </pc:spChg>
        <pc:spChg chg="add del mod modVis">
          <ac:chgData name="Tobias Brammer" userId="80a1e1bd-3b82-47a5-b259-da62a397db92" providerId="ADAL" clId="{CC804E0E-B381-4A8C-832B-11046074747A}" dt="2023-09-27T07:51:35.320" v="2416"/>
          <ac:spMkLst>
            <pc:docMk/>
            <pc:sldMk cId="2678748836" sldId="308"/>
            <ac:spMk id="10" creationId="{D54D2A90-2040-538A-6555-35D6BF797AD2}"/>
          </ac:spMkLst>
        </pc:spChg>
        <pc:spChg chg="add del mod modVis">
          <ac:chgData name="Tobias Brammer" userId="80a1e1bd-3b82-47a5-b259-da62a397db92" providerId="ADAL" clId="{CC804E0E-B381-4A8C-832B-11046074747A}" dt="2023-09-27T07:51:36.291" v="2461"/>
          <ac:spMkLst>
            <pc:docMk/>
            <pc:sldMk cId="2678748836" sldId="308"/>
            <ac:spMk id="11" creationId="{E737B445-4BC6-7DB8-08C8-760A8284BA03}"/>
          </ac:spMkLst>
        </pc:spChg>
        <pc:spChg chg="add del mod modVis">
          <ac:chgData name="Tobias Brammer" userId="80a1e1bd-3b82-47a5-b259-da62a397db92" providerId="ADAL" clId="{CC804E0E-B381-4A8C-832B-11046074747A}" dt="2023-09-27T07:51:40.265" v="2507"/>
          <ac:spMkLst>
            <pc:docMk/>
            <pc:sldMk cId="2678748836" sldId="308"/>
            <ac:spMk id="12" creationId="{382AE76C-5422-99F5-8666-30CBB6ECF02F}"/>
          </ac:spMkLst>
        </pc:spChg>
        <pc:spChg chg="add del mod modVis">
          <ac:chgData name="Tobias Brammer" userId="80a1e1bd-3b82-47a5-b259-da62a397db92" providerId="ADAL" clId="{CC804E0E-B381-4A8C-832B-11046074747A}" dt="2023-09-27T07:51:41.452" v="2552"/>
          <ac:spMkLst>
            <pc:docMk/>
            <pc:sldMk cId="2678748836" sldId="308"/>
            <ac:spMk id="13" creationId="{E48CD8C0-1540-DAB9-9F6A-3E60794F69FE}"/>
          </ac:spMkLst>
        </pc:spChg>
        <pc:spChg chg="add del mod modVis">
          <ac:chgData name="Tobias Brammer" userId="80a1e1bd-3b82-47a5-b259-da62a397db92" providerId="ADAL" clId="{CC804E0E-B381-4A8C-832B-11046074747A}" dt="2023-09-27T07:51:47.371" v="2598"/>
          <ac:spMkLst>
            <pc:docMk/>
            <pc:sldMk cId="2678748836" sldId="308"/>
            <ac:spMk id="14" creationId="{32C9A3F3-54F8-2166-ABDC-03260DF40B24}"/>
          </ac:spMkLst>
        </pc:spChg>
        <pc:spChg chg="add del mod modVis">
          <ac:chgData name="Tobias Brammer" userId="80a1e1bd-3b82-47a5-b259-da62a397db92" providerId="ADAL" clId="{CC804E0E-B381-4A8C-832B-11046074747A}" dt="2023-09-27T07:51:48.540" v="2643"/>
          <ac:spMkLst>
            <pc:docMk/>
            <pc:sldMk cId="2678748836" sldId="308"/>
            <ac:spMk id="15" creationId="{CFF89B29-4CC3-8B92-1AD6-E6CE045F2E73}"/>
          </ac:spMkLst>
        </pc:spChg>
        <pc:spChg chg="add del mod modVis">
          <ac:chgData name="Tobias Brammer" userId="80a1e1bd-3b82-47a5-b259-da62a397db92" providerId="ADAL" clId="{CC804E0E-B381-4A8C-832B-11046074747A}" dt="2023-09-27T07:51:49.578" v="2688"/>
          <ac:spMkLst>
            <pc:docMk/>
            <pc:sldMk cId="2678748836" sldId="308"/>
            <ac:spMk id="16" creationId="{CA277AA0-6721-7257-A768-1E4FF2F36B30}"/>
          </ac:spMkLst>
        </pc:spChg>
        <pc:spChg chg="add del mod modVis">
          <ac:chgData name="Tobias Brammer" userId="80a1e1bd-3b82-47a5-b259-da62a397db92" providerId="ADAL" clId="{CC804E0E-B381-4A8C-832B-11046074747A}" dt="2023-09-27T07:52:00.434" v="2733"/>
          <ac:spMkLst>
            <pc:docMk/>
            <pc:sldMk cId="2678748836" sldId="308"/>
            <ac:spMk id="17" creationId="{21E6E911-A0A4-37B5-C88A-B06319E36E0A}"/>
          </ac:spMkLst>
        </pc:spChg>
        <pc:spChg chg="add del mod modVis">
          <ac:chgData name="Tobias Brammer" userId="80a1e1bd-3b82-47a5-b259-da62a397db92" providerId="ADAL" clId="{CC804E0E-B381-4A8C-832B-11046074747A}" dt="2023-09-27T07:52:07.437" v="2784"/>
          <ac:spMkLst>
            <pc:docMk/>
            <pc:sldMk cId="2678748836" sldId="308"/>
            <ac:spMk id="18" creationId="{AA2409BC-6F1A-3A2E-5FCD-B20C96B9FD32}"/>
          </ac:spMkLst>
        </pc:spChg>
        <pc:spChg chg="add del mod modVis">
          <ac:chgData name="Tobias Brammer" userId="80a1e1bd-3b82-47a5-b259-da62a397db92" providerId="ADAL" clId="{CC804E0E-B381-4A8C-832B-11046074747A}" dt="2023-09-27T07:52:11.486" v="2829"/>
          <ac:spMkLst>
            <pc:docMk/>
            <pc:sldMk cId="2678748836" sldId="308"/>
            <ac:spMk id="19" creationId="{C31833DD-474D-9A23-A84E-0950C3796DA2}"/>
          </ac:spMkLst>
        </pc:spChg>
        <pc:spChg chg="add del mod modVis">
          <ac:chgData name="Tobias Brammer" userId="80a1e1bd-3b82-47a5-b259-da62a397db92" providerId="ADAL" clId="{CC804E0E-B381-4A8C-832B-11046074747A}" dt="2023-09-27T07:52:13.685" v="2874"/>
          <ac:spMkLst>
            <pc:docMk/>
            <pc:sldMk cId="2678748836" sldId="308"/>
            <ac:spMk id="20" creationId="{55B9C448-8DBE-F267-1F87-C126C6C02DDB}"/>
          </ac:spMkLst>
        </pc:spChg>
        <pc:spChg chg="add del mod modVis">
          <ac:chgData name="Tobias Brammer" userId="80a1e1bd-3b82-47a5-b259-da62a397db92" providerId="ADAL" clId="{CC804E0E-B381-4A8C-832B-11046074747A}" dt="2023-09-27T07:52:20.085" v="2919"/>
          <ac:spMkLst>
            <pc:docMk/>
            <pc:sldMk cId="2678748836" sldId="308"/>
            <ac:spMk id="21" creationId="{7FC0C2DE-81D3-6D3A-D44F-E25FE0F5D432}"/>
          </ac:spMkLst>
        </pc:spChg>
        <pc:spChg chg="add del mod modVis">
          <ac:chgData name="Tobias Brammer" userId="80a1e1bd-3b82-47a5-b259-da62a397db92" providerId="ADAL" clId="{CC804E0E-B381-4A8C-832B-11046074747A}" dt="2023-09-27T07:52:26.754" v="2964"/>
          <ac:spMkLst>
            <pc:docMk/>
            <pc:sldMk cId="2678748836" sldId="308"/>
            <ac:spMk id="22" creationId="{0D1A1CFA-9C6E-C1E6-400A-045B6744920D}"/>
          </ac:spMkLst>
        </pc:spChg>
        <pc:spChg chg="add del mod modVis">
          <ac:chgData name="Tobias Brammer" userId="80a1e1bd-3b82-47a5-b259-da62a397db92" providerId="ADAL" clId="{CC804E0E-B381-4A8C-832B-11046074747A}" dt="2023-09-27T07:52:29.164" v="3009"/>
          <ac:spMkLst>
            <pc:docMk/>
            <pc:sldMk cId="2678748836" sldId="308"/>
            <ac:spMk id="23" creationId="{0D9B3BD9-3979-1E1D-A6DA-359F1F5B1599}"/>
          </ac:spMkLst>
        </pc:spChg>
        <pc:spChg chg="add del mod modVis">
          <ac:chgData name="Tobias Brammer" userId="80a1e1bd-3b82-47a5-b259-da62a397db92" providerId="ADAL" clId="{CC804E0E-B381-4A8C-832B-11046074747A}" dt="2023-09-27T07:52:34.783" v="3054"/>
          <ac:spMkLst>
            <pc:docMk/>
            <pc:sldMk cId="2678748836" sldId="308"/>
            <ac:spMk id="24" creationId="{27BE4518-DE76-B45B-632E-859ED8C6E129}"/>
          </ac:spMkLst>
        </pc:spChg>
        <pc:spChg chg="add del mod modVis">
          <ac:chgData name="Tobias Brammer" userId="80a1e1bd-3b82-47a5-b259-da62a397db92" providerId="ADAL" clId="{CC804E0E-B381-4A8C-832B-11046074747A}" dt="2023-09-27T07:52:36.685" v="3099"/>
          <ac:spMkLst>
            <pc:docMk/>
            <pc:sldMk cId="2678748836" sldId="308"/>
            <ac:spMk id="25" creationId="{10906FB3-8F76-4BE0-7A32-E4615B8CCAC9}"/>
          </ac:spMkLst>
        </pc:spChg>
        <pc:spChg chg="add del mod modVis">
          <ac:chgData name="Tobias Brammer" userId="80a1e1bd-3b82-47a5-b259-da62a397db92" providerId="ADAL" clId="{CC804E0E-B381-4A8C-832B-11046074747A}" dt="2023-09-27T07:52:44.984" v="3144"/>
          <ac:spMkLst>
            <pc:docMk/>
            <pc:sldMk cId="2678748836" sldId="308"/>
            <ac:spMk id="26" creationId="{8EA831D2-1417-F655-1040-FA2AA2FE7AF8}"/>
          </ac:spMkLst>
        </pc:spChg>
        <pc:spChg chg="add del mod modVis">
          <ac:chgData name="Tobias Brammer" userId="80a1e1bd-3b82-47a5-b259-da62a397db92" providerId="ADAL" clId="{CC804E0E-B381-4A8C-832B-11046074747A}" dt="2023-09-27T07:52:50.490" v="3189"/>
          <ac:spMkLst>
            <pc:docMk/>
            <pc:sldMk cId="2678748836" sldId="308"/>
            <ac:spMk id="27" creationId="{2943569D-DF51-C1CB-4C10-7AD34F61F3AE}"/>
          </ac:spMkLst>
        </pc:spChg>
        <pc:spChg chg="add del mod modVis">
          <ac:chgData name="Tobias Brammer" userId="80a1e1bd-3b82-47a5-b259-da62a397db92" providerId="ADAL" clId="{CC804E0E-B381-4A8C-832B-11046074747A}" dt="2023-09-27T07:52:54.186" v="3234"/>
          <ac:spMkLst>
            <pc:docMk/>
            <pc:sldMk cId="2678748836" sldId="308"/>
            <ac:spMk id="28" creationId="{B11A107E-05B8-00B1-A922-432384760978}"/>
          </ac:spMkLst>
        </pc:spChg>
        <pc:spChg chg="add del mod modVis">
          <ac:chgData name="Tobias Brammer" userId="80a1e1bd-3b82-47a5-b259-da62a397db92" providerId="ADAL" clId="{CC804E0E-B381-4A8C-832B-11046074747A}" dt="2023-09-27T07:52:57.128" v="3279"/>
          <ac:spMkLst>
            <pc:docMk/>
            <pc:sldMk cId="2678748836" sldId="308"/>
            <ac:spMk id="29" creationId="{49BC6254-8434-FF47-F5C9-C2021477FEB4}"/>
          </ac:spMkLst>
        </pc:spChg>
        <pc:spChg chg="add del mod modVis">
          <ac:chgData name="Tobias Brammer" userId="80a1e1bd-3b82-47a5-b259-da62a397db92" providerId="ADAL" clId="{CC804E0E-B381-4A8C-832B-11046074747A}" dt="2023-09-27T09:41:21.505" v="10231"/>
          <ac:spMkLst>
            <pc:docMk/>
            <pc:sldMk cId="2678748836" sldId="308"/>
            <ac:spMk id="30" creationId="{EDE4165E-0B2F-7872-A512-5262913D48C6}"/>
          </ac:spMkLst>
        </pc:spChg>
        <pc:spChg chg="add del mod modVis">
          <ac:chgData name="Tobias Brammer" userId="80a1e1bd-3b82-47a5-b259-da62a397db92" providerId="ADAL" clId="{CC804E0E-B381-4A8C-832B-11046074747A}" dt="2023-09-27T09:41:32.874" v="10276"/>
          <ac:spMkLst>
            <pc:docMk/>
            <pc:sldMk cId="2678748836" sldId="308"/>
            <ac:spMk id="31" creationId="{0A6445B1-1B5A-9EFD-BA9A-9816CCE8FDA0}"/>
          </ac:spMkLst>
        </pc:spChg>
        <pc:spChg chg="add del mod modVis">
          <ac:chgData name="Tobias Brammer" userId="80a1e1bd-3b82-47a5-b259-da62a397db92" providerId="ADAL" clId="{CC804E0E-B381-4A8C-832B-11046074747A}" dt="2023-09-27T09:41:37.215" v="10321"/>
          <ac:spMkLst>
            <pc:docMk/>
            <pc:sldMk cId="2678748836" sldId="308"/>
            <ac:spMk id="32" creationId="{EB44EF17-393C-63DC-7B5A-B79D55FA309C}"/>
          </ac:spMkLst>
        </pc:spChg>
        <pc:spChg chg="add del mod modVis">
          <ac:chgData name="Tobias Brammer" userId="80a1e1bd-3b82-47a5-b259-da62a397db92" providerId="ADAL" clId="{CC804E0E-B381-4A8C-832B-11046074747A}" dt="2023-09-27T09:41:47.570" v="10366"/>
          <ac:spMkLst>
            <pc:docMk/>
            <pc:sldMk cId="2678748836" sldId="308"/>
            <ac:spMk id="33" creationId="{CCCE55AD-3CCA-6ACE-EBBD-5389C915BC68}"/>
          </ac:spMkLst>
        </pc:spChg>
        <pc:spChg chg="add del mod modVis">
          <ac:chgData name="Tobias Brammer" userId="80a1e1bd-3b82-47a5-b259-da62a397db92" providerId="ADAL" clId="{CC804E0E-B381-4A8C-832B-11046074747A}" dt="2023-09-27T09:41:54.507" v="10411"/>
          <ac:spMkLst>
            <pc:docMk/>
            <pc:sldMk cId="2678748836" sldId="308"/>
            <ac:spMk id="34" creationId="{515B2AC9-126E-D598-7AF8-74C80886D622}"/>
          </ac:spMkLst>
        </pc:spChg>
        <pc:spChg chg="add del mod modVis">
          <ac:chgData name="Tobias Brammer" userId="80a1e1bd-3b82-47a5-b259-da62a397db92" providerId="ADAL" clId="{CC804E0E-B381-4A8C-832B-11046074747A}" dt="2023-09-27T09:41:59.198" v="10456"/>
          <ac:spMkLst>
            <pc:docMk/>
            <pc:sldMk cId="2678748836" sldId="308"/>
            <ac:spMk id="35" creationId="{03B00D34-85EE-7F4E-E392-07B3A5376EA4}"/>
          </ac:spMkLst>
        </pc:spChg>
        <pc:spChg chg="add del mod modVis">
          <ac:chgData name="Tobias Brammer" userId="80a1e1bd-3b82-47a5-b259-da62a397db92" providerId="ADAL" clId="{CC804E0E-B381-4A8C-832B-11046074747A}" dt="2023-09-27T09:42:02.279" v="10501"/>
          <ac:spMkLst>
            <pc:docMk/>
            <pc:sldMk cId="2678748836" sldId="308"/>
            <ac:spMk id="36" creationId="{ECB6A1B8-00B4-CB6D-61B4-E2F70CADF669}"/>
          </ac:spMkLst>
        </pc:spChg>
        <pc:spChg chg="add del mod modVis">
          <ac:chgData name="Tobias Brammer" userId="80a1e1bd-3b82-47a5-b259-da62a397db92" providerId="ADAL" clId="{CC804E0E-B381-4A8C-832B-11046074747A}" dt="2023-09-27T09:42:05.848" v="10546"/>
          <ac:spMkLst>
            <pc:docMk/>
            <pc:sldMk cId="2678748836" sldId="308"/>
            <ac:spMk id="37" creationId="{484799E1-C949-FB9C-21B0-8A4EB9E8D2FE}"/>
          </ac:spMkLst>
        </pc:spChg>
        <pc:graphicFrameChg chg="mod">
          <ac:chgData name="Tobias Brammer" userId="80a1e1bd-3b82-47a5-b259-da62a397db92" providerId="ADAL" clId="{CC804E0E-B381-4A8C-832B-11046074747A}" dt="2023-09-27T09:42:05.848" v="10548"/>
          <ac:graphicFrameMkLst>
            <pc:docMk/>
            <pc:sldMk cId="2678748836" sldId="308"/>
            <ac:graphicFrameMk id="3" creationId="{C25CA449-E3EB-0DD4-6908-6F7AA75DB9C8}"/>
          </ac:graphicFrameMkLst>
        </pc:graphicFrameChg>
      </pc:sldChg>
      <pc:sldChg chg="addSp delSp modSp mod ord modNotes modNotesTx">
        <pc:chgData name="Tobias Brammer" userId="80a1e1bd-3b82-47a5-b259-da62a397db92" providerId="ADAL" clId="{CC804E0E-B381-4A8C-832B-11046074747A}" dt="2023-09-27T11:26:06.630" v="10859" actId="20577"/>
        <pc:sldMkLst>
          <pc:docMk/>
          <pc:sldMk cId="2492524537" sldId="309"/>
        </pc:sldMkLst>
        <pc:spChg chg="mod">
          <ac:chgData name="Tobias Brammer" userId="80a1e1bd-3b82-47a5-b259-da62a397db92" providerId="ADAL" clId="{CC804E0E-B381-4A8C-832B-11046074747A}" dt="2023-09-27T07:50:19.231" v="2178" actId="948"/>
          <ac:spMkLst>
            <pc:docMk/>
            <pc:sldMk cId="2492524537" sldId="309"/>
            <ac:spMk id="2" creationId="{F7A7B11F-5560-4450-B29C-AA36EE47DBD5}"/>
          </ac:spMkLst>
        </pc:spChg>
        <pc:spChg chg="del mod">
          <ac:chgData name="Tobias Brammer" userId="80a1e1bd-3b82-47a5-b259-da62a397db92" providerId="ADAL" clId="{CC804E0E-B381-4A8C-832B-11046074747A}" dt="2023-09-27T08:23:07.182" v="6789" actId="478"/>
          <ac:spMkLst>
            <pc:docMk/>
            <pc:sldMk cId="2492524537" sldId="309"/>
            <ac:spMk id="3" creationId="{DBBA62F8-ABAB-0796-5D4F-277CA4383CB2}"/>
          </ac:spMkLst>
        </pc:spChg>
        <pc:spChg chg="del mod">
          <ac:chgData name="Tobias Brammer" userId="80a1e1bd-3b82-47a5-b259-da62a397db92" providerId="ADAL" clId="{CC804E0E-B381-4A8C-832B-11046074747A}" dt="2023-09-27T08:22:59.419" v="6788" actId="478"/>
          <ac:spMkLst>
            <pc:docMk/>
            <pc:sldMk cId="2492524537" sldId="309"/>
            <ac:spMk id="5" creationId="{0256447C-D35F-4F86-D90B-E90F6B46AE7F}"/>
          </ac:spMkLst>
        </pc:spChg>
        <pc:spChg chg="del mod">
          <ac:chgData name="Tobias Brammer" userId="80a1e1bd-3b82-47a5-b259-da62a397db92" providerId="ADAL" clId="{CC804E0E-B381-4A8C-832B-11046074747A}" dt="2023-09-27T08:22:52.906" v="6787" actId="478"/>
          <ac:spMkLst>
            <pc:docMk/>
            <pc:sldMk cId="2492524537" sldId="309"/>
            <ac:spMk id="6" creationId="{8FC4456C-8838-4F8B-8B1E-95CBD5B2E38B}"/>
          </ac:spMkLst>
        </pc:spChg>
        <pc:spChg chg="add del mod modVis">
          <ac:chgData name="Tobias Brammer" userId="80a1e1bd-3b82-47a5-b259-da62a397db92" providerId="ADAL" clId="{CC804E0E-B381-4A8C-832B-11046074747A}" dt="2023-09-27T07:39:03.699" v="1631"/>
          <ac:spMkLst>
            <pc:docMk/>
            <pc:sldMk cId="2492524537" sldId="309"/>
            <ac:spMk id="7" creationId="{DBA4C889-B1FC-4372-C166-991E43653606}"/>
          </ac:spMkLst>
        </pc:spChg>
        <pc:spChg chg="add del mod modVis">
          <ac:chgData name="Tobias Brammer" userId="80a1e1bd-3b82-47a5-b259-da62a397db92" providerId="ADAL" clId="{CC804E0E-B381-4A8C-832B-11046074747A}" dt="2023-09-27T07:50:19.263" v="2219"/>
          <ac:spMkLst>
            <pc:docMk/>
            <pc:sldMk cId="2492524537" sldId="309"/>
            <ac:spMk id="8" creationId="{F1D26F84-EB63-3348-D954-D50D69D57E38}"/>
          </ac:spMkLst>
        </pc:spChg>
        <pc:spChg chg="add mod">
          <ac:chgData name="Tobias Brammer" userId="80a1e1bd-3b82-47a5-b259-da62a397db92" providerId="ADAL" clId="{CC804E0E-B381-4A8C-832B-11046074747A}" dt="2023-09-27T09:09:56.712" v="8342" actId="313"/>
          <ac:spMkLst>
            <pc:docMk/>
            <pc:sldMk cId="2492524537" sldId="309"/>
            <ac:spMk id="10" creationId="{6123F9E9-4EDA-8639-0B90-4D3A855C3D7A}"/>
          </ac:spMkLst>
        </pc:spChg>
        <pc:graphicFrameChg chg="mod">
          <ac:chgData name="Tobias Brammer" userId="80a1e1bd-3b82-47a5-b259-da62a397db92" providerId="ADAL" clId="{CC804E0E-B381-4A8C-832B-11046074747A}" dt="2023-09-27T07:50:19.263" v="2221"/>
          <ac:graphicFrameMkLst>
            <pc:docMk/>
            <pc:sldMk cId="2492524537" sldId="309"/>
            <ac:graphicFrameMk id="4" creationId="{79C05AFC-9555-D40C-AD9D-3E13BD0A4FC2}"/>
          </ac:graphicFrameMkLst>
        </pc:graphicFrameChg>
      </pc:sldChg>
      <pc:sldChg chg="addSp delSp modSp mod ord modNotes">
        <pc:chgData name="Tobias Brammer" userId="80a1e1bd-3b82-47a5-b259-da62a397db92" providerId="ADAL" clId="{CC804E0E-B381-4A8C-832B-11046074747A}" dt="2023-09-27T09:38:59.118" v="9972" actId="14"/>
        <pc:sldMkLst>
          <pc:docMk/>
          <pc:sldMk cId="3090062221" sldId="311"/>
        </pc:sldMkLst>
        <pc:spChg chg="mod">
          <ac:chgData name="Tobias Brammer" userId="80a1e1bd-3b82-47a5-b259-da62a397db92" providerId="ADAL" clId="{CC804E0E-B381-4A8C-832B-11046074747A}" dt="2023-09-27T07:49:49.621" v="2113" actId="948"/>
          <ac:spMkLst>
            <pc:docMk/>
            <pc:sldMk cId="3090062221" sldId="311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CC804E0E-B381-4A8C-832B-11046074747A}" dt="2023-09-27T07:39:03.699" v="1627"/>
          <ac:spMkLst>
            <pc:docMk/>
            <pc:sldMk cId="3090062221" sldId="311"/>
            <ac:spMk id="3" creationId="{C6787F1D-899F-6C78-D444-B39B88B7015E}"/>
          </ac:spMkLst>
        </pc:spChg>
        <pc:spChg chg="del mod">
          <ac:chgData name="Tobias Brammer" userId="80a1e1bd-3b82-47a5-b259-da62a397db92" providerId="ADAL" clId="{CC804E0E-B381-4A8C-832B-11046074747A}" dt="2023-09-27T09:23:08.079" v="8667" actId="478"/>
          <ac:spMkLst>
            <pc:docMk/>
            <pc:sldMk cId="3090062221" sldId="311"/>
            <ac:spMk id="6" creationId="{8FC4456C-8838-4F8B-8B1E-95CBD5B2E38B}"/>
          </ac:spMkLst>
        </pc:spChg>
        <pc:spChg chg="add mod">
          <ac:chgData name="Tobias Brammer" userId="80a1e1bd-3b82-47a5-b259-da62a397db92" providerId="ADAL" clId="{CC804E0E-B381-4A8C-832B-11046074747A}" dt="2023-09-27T09:38:59.118" v="9972" actId="14"/>
          <ac:spMkLst>
            <pc:docMk/>
            <pc:sldMk cId="3090062221" sldId="311"/>
            <ac:spMk id="7" creationId="{DEC53627-8BE2-118B-148A-8A775CEDD3D3}"/>
          </ac:spMkLst>
        </pc:spChg>
        <pc:grpChg chg="del">
          <ac:chgData name="Tobias Brammer" userId="80a1e1bd-3b82-47a5-b259-da62a397db92" providerId="ADAL" clId="{CC804E0E-B381-4A8C-832B-11046074747A}" dt="2023-09-27T09:23:09.724" v="8668" actId="478"/>
          <ac:grpSpMkLst>
            <pc:docMk/>
            <pc:sldMk cId="3090062221" sldId="311"/>
            <ac:grpSpMk id="23" creationId="{38285DF7-26A5-0B52-5D8A-45F17BF22272}"/>
          </ac:grpSpMkLst>
        </pc:grpChg>
        <pc:graphicFrameChg chg="mod">
          <ac:chgData name="Tobias Brammer" userId="80a1e1bd-3b82-47a5-b259-da62a397db92" providerId="ADAL" clId="{CC804E0E-B381-4A8C-832B-11046074747A}" dt="2023-09-27T07:49:49.621" v="2117"/>
          <ac:graphicFrameMkLst>
            <pc:docMk/>
            <pc:sldMk cId="3090062221" sldId="311"/>
            <ac:graphicFrameMk id="4" creationId="{79C05AFC-9555-D40C-AD9D-3E13BD0A4FC2}"/>
          </ac:graphicFrameMkLst>
        </pc:graphicFrameChg>
      </pc:sldChg>
      <pc:sldChg chg="addSp delSp modSp mod ord modNotes">
        <pc:chgData name="Tobias Brammer" userId="80a1e1bd-3b82-47a5-b259-da62a397db92" providerId="ADAL" clId="{CC804E0E-B381-4A8C-832B-11046074747A}" dt="2023-09-27T08:09:02.536" v="4882" actId="408"/>
        <pc:sldMkLst>
          <pc:docMk/>
          <pc:sldMk cId="637503088" sldId="313"/>
        </pc:sldMkLst>
        <pc:spChg chg="del mod">
          <ac:chgData name="Tobias Brammer" userId="80a1e1bd-3b82-47a5-b259-da62a397db92" providerId="ADAL" clId="{CC804E0E-B381-4A8C-832B-11046074747A}" dt="2023-09-27T07:53:37.489" v="3313" actId="478"/>
          <ac:spMkLst>
            <pc:docMk/>
            <pc:sldMk cId="637503088" sldId="313"/>
            <ac:spMk id="2" creationId="{2BD5074D-D1F9-B9F7-DACD-88F097B4D5CD}"/>
          </ac:spMkLst>
        </pc:spChg>
        <pc:spChg chg="add del mod modVis">
          <ac:chgData name="Tobias Brammer" userId="80a1e1bd-3b82-47a5-b259-da62a397db92" providerId="ADAL" clId="{CC804E0E-B381-4A8C-832B-11046074747A}" dt="2023-09-27T07:39:03.699" v="1635"/>
          <ac:spMkLst>
            <pc:docMk/>
            <pc:sldMk cId="637503088" sldId="313"/>
            <ac:spMk id="3" creationId="{11E5EEF7-E4BC-ADAE-4277-5633D0CF9876}"/>
          </ac:spMkLst>
        </pc:spChg>
        <pc:spChg chg="del mod">
          <ac:chgData name="Tobias Brammer" userId="80a1e1bd-3b82-47a5-b259-da62a397db92" providerId="ADAL" clId="{CC804E0E-B381-4A8C-832B-11046074747A}" dt="2023-09-27T07:57:19.279" v="3656" actId="478"/>
          <ac:spMkLst>
            <pc:docMk/>
            <pc:sldMk cId="637503088" sldId="313"/>
            <ac:spMk id="6" creationId="{C946590A-DCFA-480E-9973-032781667CFD}"/>
          </ac:spMkLst>
        </pc:spChg>
        <pc:spChg chg="del mod">
          <ac:chgData name="Tobias Brammer" userId="80a1e1bd-3b82-47a5-b259-da62a397db92" providerId="ADAL" clId="{CC804E0E-B381-4A8C-832B-11046074747A}" dt="2023-09-27T07:57:21.722" v="3657" actId="478"/>
          <ac:spMkLst>
            <pc:docMk/>
            <pc:sldMk cId="637503088" sldId="313"/>
            <ac:spMk id="7" creationId="{BB313780-1FD1-47D9-8FAE-3FEDD5BED7B1}"/>
          </ac:spMkLst>
        </pc:spChg>
        <pc:spChg chg="del mod">
          <ac:chgData name="Tobias Brammer" userId="80a1e1bd-3b82-47a5-b259-da62a397db92" providerId="ADAL" clId="{CC804E0E-B381-4A8C-832B-11046074747A}" dt="2023-09-27T07:57:23.293" v="3658" actId="478"/>
          <ac:spMkLst>
            <pc:docMk/>
            <pc:sldMk cId="637503088" sldId="313"/>
            <ac:spMk id="8" creationId="{A26BD07B-B36A-46BD-8B09-8347D40D54E4}"/>
          </ac:spMkLst>
        </pc:spChg>
        <pc:spChg chg="del mod">
          <ac:chgData name="Tobias Brammer" userId="80a1e1bd-3b82-47a5-b259-da62a397db92" providerId="ADAL" clId="{CC804E0E-B381-4A8C-832B-11046074747A}" dt="2023-09-27T08:07:36.524" v="4864" actId="478"/>
          <ac:spMkLst>
            <pc:docMk/>
            <pc:sldMk cId="637503088" sldId="313"/>
            <ac:spMk id="9" creationId="{7A55C507-1CA4-403F-85AA-068A599400B3}"/>
          </ac:spMkLst>
        </pc:spChg>
        <pc:spChg chg="del mod">
          <ac:chgData name="Tobias Brammer" userId="80a1e1bd-3b82-47a5-b259-da62a397db92" providerId="ADAL" clId="{CC804E0E-B381-4A8C-832B-11046074747A}" dt="2023-09-27T08:07:38.503" v="4865" actId="478"/>
          <ac:spMkLst>
            <pc:docMk/>
            <pc:sldMk cId="637503088" sldId="313"/>
            <ac:spMk id="10" creationId="{FCC3E6C0-5D07-41B1-BF2D-D07463968082}"/>
          </ac:spMkLst>
        </pc:spChg>
        <pc:spChg chg="mod">
          <ac:chgData name="Tobias Brammer" userId="80a1e1bd-3b82-47a5-b259-da62a397db92" providerId="ADAL" clId="{CC804E0E-B381-4A8C-832B-11046074747A}" dt="2023-09-27T08:08:12.231" v="4870" actId="552"/>
          <ac:spMkLst>
            <pc:docMk/>
            <pc:sldMk cId="637503088" sldId="313"/>
            <ac:spMk id="11" creationId="{F2D1ABE1-5DEA-4BC7-A383-C87624EBC8FE}"/>
          </ac:spMkLst>
        </pc:spChg>
        <pc:spChg chg="mod">
          <ac:chgData name="Tobias Brammer" userId="80a1e1bd-3b82-47a5-b259-da62a397db92" providerId="ADAL" clId="{CC804E0E-B381-4A8C-832B-11046074747A}" dt="2023-09-27T08:07:04.953" v="4854" actId="164"/>
          <ac:spMkLst>
            <pc:docMk/>
            <pc:sldMk cId="637503088" sldId="313"/>
            <ac:spMk id="12" creationId="{2E5DBFB2-6254-4D85-BA12-9421EF5CB27B}"/>
          </ac:spMkLst>
        </pc:spChg>
        <pc:spChg chg="mod">
          <ac:chgData name="Tobias Brammer" userId="80a1e1bd-3b82-47a5-b259-da62a397db92" providerId="ADAL" clId="{CC804E0E-B381-4A8C-832B-11046074747A}" dt="2023-09-27T08:08:18.638" v="4872" actId="164"/>
          <ac:spMkLst>
            <pc:docMk/>
            <pc:sldMk cId="637503088" sldId="313"/>
            <ac:spMk id="13" creationId="{E13D7B49-6DD3-43C3-9A2E-E2BA90A74A41}"/>
          </ac:spMkLst>
        </pc:spChg>
        <pc:spChg chg="add del mod">
          <ac:chgData name="Tobias Brammer" userId="80a1e1bd-3b82-47a5-b259-da62a397db92" providerId="ADAL" clId="{CC804E0E-B381-4A8C-832B-11046074747A}" dt="2023-09-27T07:53:43.578" v="3319" actId="478"/>
          <ac:spMkLst>
            <pc:docMk/>
            <pc:sldMk cId="637503088" sldId="313"/>
            <ac:spMk id="14" creationId="{AB3AEB30-91A2-C8BB-56D4-6E8A8CF831BE}"/>
          </ac:spMkLst>
        </pc:spChg>
        <pc:spChg chg="add mod">
          <ac:chgData name="Tobias Brammer" userId="80a1e1bd-3b82-47a5-b259-da62a397db92" providerId="ADAL" clId="{CC804E0E-B381-4A8C-832B-11046074747A}" dt="2023-09-27T07:53:49.805" v="3351" actId="20577"/>
          <ac:spMkLst>
            <pc:docMk/>
            <pc:sldMk cId="637503088" sldId="313"/>
            <ac:spMk id="15" creationId="{9C6F2DC5-280B-B242-0715-F5482580179E}"/>
          </ac:spMkLst>
        </pc:spChg>
        <pc:spChg chg="add del mod">
          <ac:chgData name="Tobias Brammer" userId="80a1e1bd-3b82-47a5-b259-da62a397db92" providerId="ADAL" clId="{CC804E0E-B381-4A8C-832B-11046074747A}" dt="2023-09-27T07:57:27.468" v="3661" actId="478"/>
          <ac:spMkLst>
            <pc:docMk/>
            <pc:sldMk cId="637503088" sldId="313"/>
            <ac:spMk id="17" creationId="{C8B9D12A-22CA-59A6-6130-B5A9C6FB9046}"/>
          </ac:spMkLst>
        </pc:spChg>
        <pc:spChg chg="add del mod">
          <ac:chgData name="Tobias Brammer" userId="80a1e1bd-3b82-47a5-b259-da62a397db92" providerId="ADAL" clId="{CC804E0E-B381-4A8C-832B-11046074747A}" dt="2023-09-27T07:57:24.964" v="3659" actId="478"/>
          <ac:spMkLst>
            <pc:docMk/>
            <pc:sldMk cId="637503088" sldId="313"/>
            <ac:spMk id="19" creationId="{D6CEC033-6E14-CD49-9742-5B5A5482B066}"/>
          </ac:spMkLst>
        </pc:spChg>
        <pc:spChg chg="add del mod">
          <ac:chgData name="Tobias Brammer" userId="80a1e1bd-3b82-47a5-b259-da62a397db92" providerId="ADAL" clId="{CC804E0E-B381-4A8C-832B-11046074747A}" dt="2023-09-27T07:57:25.832" v="3660" actId="478"/>
          <ac:spMkLst>
            <pc:docMk/>
            <pc:sldMk cId="637503088" sldId="313"/>
            <ac:spMk id="21" creationId="{A9AFD17C-6F54-F61D-D152-58712B3AB2F9}"/>
          </ac:spMkLst>
        </pc:spChg>
        <pc:spChg chg="add mod">
          <ac:chgData name="Tobias Brammer" userId="80a1e1bd-3b82-47a5-b259-da62a397db92" providerId="ADAL" clId="{CC804E0E-B381-4A8C-832B-11046074747A}" dt="2023-09-27T08:07:04.953" v="4854" actId="164"/>
          <ac:spMkLst>
            <pc:docMk/>
            <pc:sldMk cId="637503088" sldId="313"/>
            <ac:spMk id="22" creationId="{E8C399C7-C1E5-D310-9507-782E9AC692AD}"/>
          </ac:spMkLst>
        </pc:spChg>
        <pc:spChg chg="add mod">
          <ac:chgData name="Tobias Brammer" userId="80a1e1bd-3b82-47a5-b259-da62a397db92" providerId="ADAL" clId="{CC804E0E-B381-4A8C-832B-11046074747A}" dt="2023-09-27T08:08:12.231" v="4870" actId="552"/>
          <ac:spMkLst>
            <pc:docMk/>
            <pc:sldMk cId="637503088" sldId="313"/>
            <ac:spMk id="23" creationId="{A2CF2E1D-7AB4-1494-0202-03BB4783B61A}"/>
          </ac:spMkLst>
        </pc:spChg>
        <pc:spChg chg="add mod">
          <ac:chgData name="Tobias Brammer" userId="80a1e1bd-3b82-47a5-b259-da62a397db92" providerId="ADAL" clId="{CC804E0E-B381-4A8C-832B-11046074747A}" dt="2023-09-27T08:08:18.638" v="4872" actId="164"/>
          <ac:spMkLst>
            <pc:docMk/>
            <pc:sldMk cId="637503088" sldId="313"/>
            <ac:spMk id="24" creationId="{B7CB5A19-F73E-89F5-3B99-742957B1CF2B}"/>
          </ac:spMkLst>
        </pc:spChg>
        <pc:spChg chg="mod">
          <ac:chgData name="Tobias Brammer" userId="80a1e1bd-3b82-47a5-b259-da62a397db92" providerId="ADAL" clId="{CC804E0E-B381-4A8C-832B-11046074747A}" dt="2023-09-27T08:07:19.282" v="4857" actId="20577"/>
          <ac:spMkLst>
            <pc:docMk/>
            <pc:sldMk cId="637503088" sldId="313"/>
            <ac:spMk id="27" creationId="{FA06AD48-B719-5AE4-1C29-92301241A93A}"/>
          </ac:spMkLst>
        </pc:spChg>
        <pc:spChg chg="mod">
          <ac:chgData name="Tobias Brammer" userId="80a1e1bd-3b82-47a5-b259-da62a397db92" providerId="ADAL" clId="{CC804E0E-B381-4A8C-832B-11046074747A}" dt="2023-09-27T08:07:54.134" v="4868" actId="255"/>
          <ac:spMkLst>
            <pc:docMk/>
            <pc:sldMk cId="637503088" sldId="313"/>
            <ac:spMk id="28" creationId="{98D9ED06-1B29-6257-5CA9-5B684C58A0A5}"/>
          </ac:spMkLst>
        </pc:spChg>
        <pc:spChg chg="add del mod">
          <ac:chgData name="Tobias Brammer" userId="80a1e1bd-3b82-47a5-b259-da62a397db92" providerId="ADAL" clId="{CC804E0E-B381-4A8C-832B-11046074747A}" dt="2023-09-27T08:07:39.835" v="4866" actId="478"/>
          <ac:spMkLst>
            <pc:docMk/>
            <pc:sldMk cId="637503088" sldId="313"/>
            <ac:spMk id="30" creationId="{4080400C-7290-260C-B6F9-E374EBBC6C7C}"/>
          </ac:spMkLst>
        </pc:spChg>
        <pc:grpChg chg="add mod">
          <ac:chgData name="Tobias Brammer" userId="80a1e1bd-3b82-47a5-b259-da62a397db92" providerId="ADAL" clId="{CC804E0E-B381-4A8C-832B-11046074747A}" dt="2023-09-27T08:09:02.536" v="4882" actId="408"/>
          <ac:grpSpMkLst>
            <pc:docMk/>
            <pc:sldMk cId="637503088" sldId="313"/>
            <ac:grpSpMk id="25" creationId="{A2C2722A-AD85-3EE8-5CAB-992F35AC1BCE}"/>
          </ac:grpSpMkLst>
        </pc:grpChg>
        <pc:grpChg chg="add mod">
          <ac:chgData name="Tobias Brammer" userId="80a1e1bd-3b82-47a5-b259-da62a397db92" providerId="ADAL" clId="{CC804E0E-B381-4A8C-832B-11046074747A}" dt="2023-09-27T08:09:02.536" v="4882" actId="408"/>
          <ac:grpSpMkLst>
            <pc:docMk/>
            <pc:sldMk cId="637503088" sldId="313"/>
            <ac:grpSpMk id="26" creationId="{BBAB5653-01E6-4085-DCDC-F243ACBDB042}"/>
          </ac:grpSpMkLst>
        </pc:grpChg>
        <pc:grpChg chg="add mod">
          <ac:chgData name="Tobias Brammer" userId="80a1e1bd-3b82-47a5-b259-da62a397db92" providerId="ADAL" clId="{CC804E0E-B381-4A8C-832B-11046074747A}" dt="2023-09-27T08:09:02.536" v="4882" actId="408"/>
          <ac:grpSpMkLst>
            <pc:docMk/>
            <pc:sldMk cId="637503088" sldId="313"/>
            <ac:grpSpMk id="31" creationId="{F20FA6EF-6A98-C6F0-3793-BC9C516343D7}"/>
          </ac:grpSpMkLst>
        </pc:grpChg>
        <pc:grpChg chg="add mod">
          <ac:chgData name="Tobias Brammer" userId="80a1e1bd-3b82-47a5-b259-da62a397db92" providerId="ADAL" clId="{CC804E0E-B381-4A8C-832B-11046074747A}" dt="2023-09-27T08:09:02.536" v="4882" actId="408"/>
          <ac:grpSpMkLst>
            <pc:docMk/>
            <pc:sldMk cId="637503088" sldId="313"/>
            <ac:grpSpMk id="32" creationId="{B875996F-D7A7-7CE3-9681-69F3418BF28D}"/>
          </ac:grpSpMkLst>
        </pc:grpChg>
        <pc:graphicFrameChg chg="mod">
          <ac:chgData name="Tobias Brammer" userId="80a1e1bd-3b82-47a5-b259-da62a397db92" providerId="ADAL" clId="{CC804E0E-B381-4A8C-832B-11046074747A}" dt="2023-09-27T07:53:44.095" v="3323"/>
          <ac:graphicFrameMkLst>
            <pc:docMk/>
            <pc:sldMk cId="637503088" sldId="313"/>
            <ac:graphicFrameMk id="4" creationId="{DA4F5744-822E-272D-9EB9-E4CFFB864E67}"/>
          </ac:graphicFrameMkLst>
        </pc:graphicFrameChg>
      </pc:sldChg>
      <pc:sldChg chg="addSp delSp modSp add mod">
        <pc:chgData name="Tobias Brammer" userId="80a1e1bd-3b82-47a5-b259-da62a397db92" providerId="ADAL" clId="{CC804E0E-B381-4A8C-832B-11046074747A}" dt="2023-09-27T09:50:37.287" v="10836" actId="207"/>
        <pc:sldMkLst>
          <pc:docMk/>
          <pc:sldMk cId="1287878720" sldId="314"/>
        </pc:sldMkLst>
        <pc:spChg chg="mod">
          <ac:chgData name="Tobias Brammer" userId="80a1e1bd-3b82-47a5-b259-da62a397db92" providerId="ADAL" clId="{CC804E0E-B381-4A8C-832B-11046074747A}" dt="2023-09-27T07:47:29.232" v="1954" actId="948"/>
          <ac:spMkLst>
            <pc:docMk/>
            <pc:sldMk cId="1287878720" sldId="314"/>
            <ac:spMk id="2" creationId="{3C6F285B-6BE8-47BE-BAD4-8ACEEFC175A8}"/>
          </ac:spMkLst>
        </pc:spChg>
        <pc:spChg chg="mod">
          <ac:chgData name="Tobias Brammer" userId="80a1e1bd-3b82-47a5-b259-da62a397db92" providerId="ADAL" clId="{CC804E0E-B381-4A8C-832B-11046074747A}" dt="2023-09-27T09:50:32.549" v="10835" actId="207"/>
          <ac:spMkLst>
            <pc:docMk/>
            <pc:sldMk cId="1287878720" sldId="314"/>
            <ac:spMk id="4" creationId="{17B773D2-7093-DA26-F33E-B2F587C7ADFD}"/>
          </ac:spMkLst>
        </pc:spChg>
        <pc:spChg chg="mod">
          <ac:chgData name="Tobias Brammer" userId="80a1e1bd-3b82-47a5-b259-da62a397db92" providerId="ADAL" clId="{CC804E0E-B381-4A8C-832B-11046074747A}" dt="2023-09-27T09:50:32.549" v="10835" actId="207"/>
          <ac:spMkLst>
            <pc:docMk/>
            <pc:sldMk cId="1287878720" sldId="314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9:50:03.711" v="10832" actId="207"/>
          <ac:spMkLst>
            <pc:docMk/>
            <pc:sldMk cId="1287878720" sldId="314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9:50:03.711" v="10832" actId="207"/>
          <ac:spMkLst>
            <pc:docMk/>
            <pc:sldMk cId="1287878720" sldId="314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9:50:09.533" v="10833" actId="207"/>
          <ac:spMkLst>
            <pc:docMk/>
            <pc:sldMk cId="1287878720" sldId="314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9:50:09.533" v="10833" actId="207"/>
          <ac:spMkLst>
            <pc:docMk/>
            <pc:sldMk cId="1287878720" sldId="314"/>
            <ac:spMk id="11" creationId="{8EF3D609-41B5-4A56-8942-7DC08C4DC25A}"/>
          </ac:spMkLst>
        </pc:spChg>
        <pc:spChg chg="mod">
          <ac:chgData name="Tobias Brammer" userId="80a1e1bd-3b82-47a5-b259-da62a397db92" providerId="ADAL" clId="{CC804E0E-B381-4A8C-832B-11046074747A}" dt="2023-09-27T09:50:12.660" v="10834" actId="207"/>
          <ac:spMkLst>
            <pc:docMk/>
            <pc:sldMk cId="1287878720" sldId="314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9:50:12.660" v="10834" actId="207"/>
          <ac:spMkLst>
            <pc:docMk/>
            <pc:sldMk cId="1287878720" sldId="314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CC804E0E-B381-4A8C-832B-11046074747A}" dt="2023-09-27T09:47:07.959" v="10815" actId="931"/>
          <ac:spMkLst>
            <pc:docMk/>
            <pc:sldMk cId="1287878720" sldId="314"/>
            <ac:spMk id="19" creationId="{0BD12D19-C0A6-CD02-F576-398603F6706F}"/>
          </ac:spMkLst>
        </pc:spChg>
        <pc:spChg chg="mod">
          <ac:chgData name="Tobias Brammer" userId="80a1e1bd-3b82-47a5-b259-da62a397db92" providerId="ADAL" clId="{CC804E0E-B381-4A8C-832B-11046074747A}" dt="2023-09-27T09:50:37.287" v="10836" actId="207"/>
          <ac:spMkLst>
            <pc:docMk/>
            <pc:sldMk cId="1287878720" sldId="314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9:50:37.287" v="10836" actId="207"/>
          <ac:spMkLst>
            <pc:docMk/>
            <pc:sldMk cId="1287878720" sldId="314"/>
            <ac:spMk id="45" creationId="{7D44CCBE-33B5-1195-B0AA-7EE1E6AD8555}"/>
          </ac:spMkLst>
        </pc:spChg>
        <pc:graphicFrameChg chg="mod">
          <ac:chgData name="Tobias Brammer" userId="80a1e1bd-3b82-47a5-b259-da62a397db92" providerId="ADAL" clId="{CC804E0E-B381-4A8C-832B-11046074747A}" dt="2023-09-27T07:47:29.232" v="1958"/>
          <ac:graphicFrameMkLst>
            <pc:docMk/>
            <pc:sldMk cId="1287878720" sldId="314"/>
            <ac:graphicFrameMk id="3" creationId="{AB86B848-EDE9-F4A9-108A-F58D243B51C5}"/>
          </ac:graphicFrameMkLst>
        </pc:graphicFrameChg>
        <pc:picChg chg="add del mod">
          <ac:chgData name="Tobias Brammer" userId="80a1e1bd-3b82-47a5-b259-da62a397db92" providerId="ADAL" clId="{CC804E0E-B381-4A8C-832B-11046074747A}" dt="2023-09-27T09:46:52.761" v="10814"/>
          <ac:picMkLst>
            <pc:docMk/>
            <pc:sldMk cId="1287878720" sldId="314"/>
            <ac:picMk id="21" creationId="{7B472B62-A4D3-8E7B-EB71-F3ABCCDD01AA}"/>
          </ac:picMkLst>
        </pc:picChg>
        <pc:picChg chg="del">
          <ac:chgData name="Tobias Brammer" userId="80a1e1bd-3b82-47a5-b259-da62a397db92" providerId="ADAL" clId="{CC804E0E-B381-4A8C-832B-11046074747A}" dt="2023-09-27T09:46:51.470" v="10812" actId="478"/>
          <ac:picMkLst>
            <pc:docMk/>
            <pc:sldMk cId="1287878720" sldId="314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7:07.959" v="10815" actId="931"/>
          <ac:picMkLst>
            <pc:docMk/>
            <pc:sldMk cId="1287878720" sldId="314"/>
            <ac:picMk id="24" creationId="{53AE1CB5-74B0-8748-0C1C-6A905AD892EF}"/>
          </ac:picMkLst>
        </pc:picChg>
      </pc:sldChg>
      <pc:sldChg chg="addSp delSp modSp add mod ord">
        <pc:chgData name="Tobias Brammer" userId="80a1e1bd-3b82-47a5-b259-da62a397db92" providerId="ADAL" clId="{CC804E0E-B381-4A8C-832B-11046074747A}" dt="2023-09-27T09:50:57.425" v="10841" actId="207"/>
        <pc:sldMkLst>
          <pc:docMk/>
          <pc:sldMk cId="2876952117" sldId="315"/>
        </pc:sldMkLst>
        <pc:spChg chg="mod">
          <ac:chgData name="Tobias Brammer" userId="80a1e1bd-3b82-47a5-b259-da62a397db92" providerId="ADAL" clId="{CC804E0E-B381-4A8C-832B-11046074747A}" dt="2023-09-27T07:47:31.156" v="1960" actId="948"/>
          <ac:spMkLst>
            <pc:docMk/>
            <pc:sldMk cId="2876952117" sldId="315"/>
            <ac:spMk id="2" creationId="{3C6F285B-6BE8-47BE-BAD4-8ACEEFC175A8}"/>
          </ac:spMkLst>
        </pc:spChg>
        <pc:spChg chg="mod">
          <ac:chgData name="Tobias Brammer" userId="80a1e1bd-3b82-47a5-b259-da62a397db92" providerId="ADAL" clId="{CC804E0E-B381-4A8C-832B-11046074747A}" dt="2023-09-27T09:50:54.867" v="10840" actId="207"/>
          <ac:spMkLst>
            <pc:docMk/>
            <pc:sldMk cId="2876952117" sldId="315"/>
            <ac:spMk id="4" creationId="{17B773D2-7093-DA26-F33E-B2F587C7ADFD}"/>
          </ac:spMkLst>
        </pc:spChg>
        <pc:spChg chg="mod">
          <ac:chgData name="Tobias Brammer" userId="80a1e1bd-3b82-47a5-b259-da62a397db92" providerId="ADAL" clId="{CC804E0E-B381-4A8C-832B-11046074747A}" dt="2023-09-27T09:50:54.867" v="10840" actId="207"/>
          <ac:spMkLst>
            <pc:docMk/>
            <pc:sldMk cId="2876952117" sldId="315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9:50:44.413" v="10837" actId="207"/>
          <ac:spMkLst>
            <pc:docMk/>
            <pc:sldMk cId="2876952117" sldId="315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9:50:44.413" v="10837" actId="207"/>
          <ac:spMkLst>
            <pc:docMk/>
            <pc:sldMk cId="2876952117" sldId="315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9:50:47.330" v="10838" actId="207"/>
          <ac:spMkLst>
            <pc:docMk/>
            <pc:sldMk cId="2876952117" sldId="315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9:50:47.330" v="10838" actId="207"/>
          <ac:spMkLst>
            <pc:docMk/>
            <pc:sldMk cId="2876952117" sldId="315"/>
            <ac:spMk id="11" creationId="{8EF3D609-41B5-4A56-8942-7DC08C4DC25A}"/>
          </ac:spMkLst>
        </pc:spChg>
        <pc:spChg chg="mod">
          <ac:chgData name="Tobias Brammer" userId="80a1e1bd-3b82-47a5-b259-da62a397db92" providerId="ADAL" clId="{CC804E0E-B381-4A8C-832B-11046074747A}" dt="2023-09-27T09:50:51.206" v="10839" actId="207"/>
          <ac:spMkLst>
            <pc:docMk/>
            <pc:sldMk cId="2876952117" sldId="315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9:50:51.206" v="10839" actId="207"/>
          <ac:spMkLst>
            <pc:docMk/>
            <pc:sldMk cId="2876952117" sldId="315"/>
            <ac:spMk id="13" creationId="{50C5CCBA-0874-4BEE-99C2-CC4082D3A1FF}"/>
          </ac:spMkLst>
        </pc:spChg>
        <pc:spChg chg="add del">
          <ac:chgData name="Tobias Brammer" userId="80a1e1bd-3b82-47a5-b259-da62a397db92" providerId="ADAL" clId="{CC804E0E-B381-4A8C-832B-11046074747A}" dt="2023-09-27T07:47:36.018" v="1967" actId="22"/>
          <ac:spMkLst>
            <pc:docMk/>
            <pc:sldMk cId="2876952117" sldId="315"/>
            <ac:spMk id="19" creationId="{2EE6ACE6-FA50-A95A-6D0C-639C6469955C}"/>
          </ac:spMkLst>
        </pc:spChg>
        <pc:spChg chg="add del mod">
          <ac:chgData name="Tobias Brammer" userId="80a1e1bd-3b82-47a5-b259-da62a397db92" providerId="ADAL" clId="{CC804E0E-B381-4A8C-832B-11046074747A}" dt="2023-09-27T09:47:35.511" v="10817" actId="931"/>
          <ac:spMkLst>
            <pc:docMk/>
            <pc:sldMk cId="2876952117" sldId="315"/>
            <ac:spMk id="23" creationId="{BCDE5294-B66A-EE66-77EA-92FEBAB105A3}"/>
          </ac:spMkLst>
        </pc:spChg>
        <pc:spChg chg="mod">
          <ac:chgData name="Tobias Brammer" userId="80a1e1bd-3b82-47a5-b259-da62a397db92" providerId="ADAL" clId="{CC804E0E-B381-4A8C-832B-11046074747A}" dt="2023-09-27T09:50:57.425" v="10841" actId="207"/>
          <ac:spMkLst>
            <pc:docMk/>
            <pc:sldMk cId="2876952117" sldId="315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9:50:57.425" v="10841" actId="207"/>
          <ac:spMkLst>
            <pc:docMk/>
            <pc:sldMk cId="2876952117" sldId="315"/>
            <ac:spMk id="45" creationId="{7D44CCBE-33B5-1195-B0AA-7EE1E6AD8555}"/>
          </ac:spMkLst>
        </pc:spChg>
        <pc:graphicFrameChg chg="mod">
          <ac:chgData name="Tobias Brammer" userId="80a1e1bd-3b82-47a5-b259-da62a397db92" providerId="ADAL" clId="{CC804E0E-B381-4A8C-832B-11046074747A}" dt="2023-09-27T07:47:31.172" v="1964"/>
          <ac:graphicFrameMkLst>
            <pc:docMk/>
            <pc:sldMk cId="2876952117" sldId="315"/>
            <ac:graphicFrameMk id="3" creationId="{AB86B848-EDE9-F4A9-108A-F58D243B51C5}"/>
          </ac:graphicFrameMkLst>
        </pc:graphicFrameChg>
        <pc:picChg chg="del">
          <ac:chgData name="Tobias Brammer" userId="80a1e1bd-3b82-47a5-b259-da62a397db92" providerId="ADAL" clId="{CC804E0E-B381-4A8C-832B-11046074747A}" dt="2023-09-27T09:47:20.070" v="10816" actId="478"/>
          <ac:picMkLst>
            <pc:docMk/>
            <pc:sldMk cId="2876952117" sldId="315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7:35.511" v="10817" actId="931"/>
          <ac:picMkLst>
            <pc:docMk/>
            <pc:sldMk cId="2876952117" sldId="315"/>
            <ac:picMk id="25" creationId="{47F72850-556D-07BA-2992-E1CAF5869C4E}"/>
          </ac:picMkLst>
        </pc:picChg>
      </pc:sldChg>
      <pc:sldChg chg="addSp delSp modSp add mod">
        <pc:chgData name="Tobias Brammer" userId="80a1e1bd-3b82-47a5-b259-da62a397db92" providerId="ADAL" clId="{CC804E0E-B381-4A8C-832B-11046074747A}" dt="2023-09-27T09:51:15.496" v="10842" actId="207"/>
        <pc:sldMkLst>
          <pc:docMk/>
          <pc:sldMk cId="3608097450" sldId="316"/>
        </pc:sldMkLst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4" creationId="{17B773D2-7093-DA26-F33E-B2F587C7ADFD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CC804E0E-B381-4A8C-832B-11046074747A}" dt="2023-09-27T09:47:45.283" v="10819" actId="931"/>
          <ac:spMkLst>
            <pc:docMk/>
            <pc:sldMk cId="3608097450" sldId="316"/>
            <ac:spMk id="19" creationId="{EFDE90FE-BE0E-856C-A70E-544E1FEED5CC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9:51:15.496" v="10842" actId="207"/>
          <ac:spMkLst>
            <pc:docMk/>
            <pc:sldMk cId="3608097450" sldId="316"/>
            <ac:spMk id="45" creationId="{7D44CCBE-33B5-1195-B0AA-7EE1E6AD8555}"/>
          </ac:spMkLst>
        </pc:spChg>
        <pc:picChg chg="del">
          <ac:chgData name="Tobias Brammer" userId="80a1e1bd-3b82-47a5-b259-da62a397db92" providerId="ADAL" clId="{CC804E0E-B381-4A8C-832B-11046074747A}" dt="2023-09-27T09:47:40.978" v="10818" actId="478"/>
          <ac:picMkLst>
            <pc:docMk/>
            <pc:sldMk cId="3608097450" sldId="316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7:45.283" v="10819" actId="931"/>
          <ac:picMkLst>
            <pc:docMk/>
            <pc:sldMk cId="3608097450" sldId="316"/>
            <ac:picMk id="23" creationId="{48549432-49AA-50F6-E18A-166229001C22}"/>
          </ac:picMkLst>
        </pc:picChg>
      </pc:sldChg>
      <pc:sldChg chg="addSp delSp modSp add mod">
        <pc:chgData name="Tobias Brammer" userId="80a1e1bd-3b82-47a5-b259-da62a397db92" providerId="ADAL" clId="{CC804E0E-B381-4A8C-832B-11046074747A}" dt="2023-09-27T09:51:29.533" v="10843" actId="207"/>
        <pc:sldMkLst>
          <pc:docMk/>
          <pc:sldMk cId="4003877205" sldId="317"/>
        </pc:sldMkLst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4" creationId="{17B773D2-7093-DA26-F33E-B2F587C7ADFD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11" creationId="{8EF3D609-41B5-4A56-8942-7DC08C4DC25A}"/>
          </ac:spMkLst>
        </pc:spChg>
        <pc:spChg chg="add del mod">
          <ac:chgData name="Tobias Brammer" userId="80a1e1bd-3b82-47a5-b259-da62a397db92" providerId="ADAL" clId="{CC804E0E-B381-4A8C-832B-11046074747A}" dt="2023-09-27T09:47:54.624" v="10821" actId="931"/>
          <ac:spMkLst>
            <pc:docMk/>
            <pc:sldMk cId="4003877205" sldId="317"/>
            <ac:spMk id="19" creationId="{F138CEE4-5153-55D7-8CE5-800139D06199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9:51:29.533" v="10843" actId="207"/>
          <ac:spMkLst>
            <pc:docMk/>
            <pc:sldMk cId="4003877205" sldId="317"/>
            <ac:spMk id="45" creationId="{7D44CCBE-33B5-1195-B0AA-7EE1E6AD8555}"/>
          </ac:spMkLst>
        </pc:spChg>
        <pc:picChg chg="del">
          <ac:chgData name="Tobias Brammer" userId="80a1e1bd-3b82-47a5-b259-da62a397db92" providerId="ADAL" clId="{CC804E0E-B381-4A8C-832B-11046074747A}" dt="2023-09-27T09:47:50.843" v="10820" actId="478"/>
          <ac:picMkLst>
            <pc:docMk/>
            <pc:sldMk cId="4003877205" sldId="317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7:54.624" v="10821" actId="931"/>
          <ac:picMkLst>
            <pc:docMk/>
            <pc:sldMk cId="4003877205" sldId="317"/>
            <ac:picMk id="23" creationId="{D6804B78-DE4E-B939-80BD-A9B0009A6B44}"/>
          </ac:picMkLst>
        </pc:picChg>
      </pc:sldChg>
      <pc:sldChg chg="addSp delSp modSp add mod">
        <pc:chgData name="Tobias Brammer" userId="80a1e1bd-3b82-47a5-b259-da62a397db92" providerId="ADAL" clId="{CC804E0E-B381-4A8C-832B-11046074747A}" dt="2023-09-27T09:51:40.557" v="10844" actId="207"/>
        <pc:sldMkLst>
          <pc:docMk/>
          <pc:sldMk cId="911955254" sldId="318"/>
        </pc:sldMkLst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11" creationId="{8EF3D609-41B5-4A56-8942-7DC08C4DC25A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CC804E0E-B381-4A8C-832B-11046074747A}" dt="2023-09-27T09:48:01.821" v="10823" actId="931"/>
          <ac:spMkLst>
            <pc:docMk/>
            <pc:sldMk cId="911955254" sldId="318"/>
            <ac:spMk id="19" creationId="{8E012EC9-985E-E65E-F0D6-D24EEBF288AE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44" creationId="{D4413DAA-FF4B-72CF-2B47-6E8B26147098}"/>
          </ac:spMkLst>
        </pc:spChg>
        <pc:spChg chg="mod">
          <ac:chgData name="Tobias Brammer" userId="80a1e1bd-3b82-47a5-b259-da62a397db92" providerId="ADAL" clId="{CC804E0E-B381-4A8C-832B-11046074747A}" dt="2023-09-27T09:51:40.557" v="10844" actId="207"/>
          <ac:spMkLst>
            <pc:docMk/>
            <pc:sldMk cId="911955254" sldId="318"/>
            <ac:spMk id="45" creationId="{7D44CCBE-33B5-1195-B0AA-7EE1E6AD8555}"/>
          </ac:spMkLst>
        </pc:spChg>
        <pc:picChg chg="del">
          <ac:chgData name="Tobias Brammer" userId="80a1e1bd-3b82-47a5-b259-da62a397db92" providerId="ADAL" clId="{CC804E0E-B381-4A8C-832B-11046074747A}" dt="2023-09-27T09:47:58.875" v="10822" actId="478"/>
          <ac:picMkLst>
            <pc:docMk/>
            <pc:sldMk cId="911955254" sldId="318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8:01.821" v="10823" actId="931"/>
          <ac:picMkLst>
            <pc:docMk/>
            <pc:sldMk cId="911955254" sldId="318"/>
            <ac:picMk id="23" creationId="{EB01291D-C591-FF49-B6E9-903D33D3D6F9}"/>
          </ac:picMkLst>
        </pc:picChg>
      </pc:sldChg>
      <pc:sldChg chg="addSp delSp modSp add mod">
        <pc:chgData name="Tobias Brammer" userId="80a1e1bd-3b82-47a5-b259-da62a397db92" providerId="ADAL" clId="{CC804E0E-B381-4A8C-832B-11046074747A}" dt="2023-09-27T09:52:01.444" v="10845" actId="207"/>
        <pc:sldMkLst>
          <pc:docMk/>
          <pc:sldMk cId="4180894462" sldId="319"/>
        </pc:sldMkLst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4" creationId="{17B773D2-7093-DA26-F33E-B2F587C7ADFD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5" creationId="{91DA30A7-B235-0097-CCB7-65E8CA40C29B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6" creationId="{CDC222EA-31E5-4543-973D-6351289EEE35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7" creationId="{F787AB7F-95DA-4686-8C4E-D8E93F97EFAD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8" creationId="{8E492FCB-C2C0-467D-A668-B1FD59DC4F32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9" creationId="{8140DF04-B4DC-4986-9C6D-DDE15FD1CA31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10" creationId="{CBA4467F-4AF6-4FDA-A3A1-6FFF686B5694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11" creationId="{8EF3D609-41B5-4A56-8942-7DC08C4DC25A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12" creationId="{702BF8D8-1F1E-4939-B5E8-A6D1C6691326}"/>
          </ac:spMkLst>
        </pc:spChg>
        <pc:spChg chg="mod">
          <ac:chgData name="Tobias Brammer" userId="80a1e1bd-3b82-47a5-b259-da62a397db92" providerId="ADAL" clId="{CC804E0E-B381-4A8C-832B-11046074747A}" dt="2023-09-27T09:52:01.444" v="10845" actId="207"/>
          <ac:spMkLst>
            <pc:docMk/>
            <pc:sldMk cId="4180894462" sldId="319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CC804E0E-B381-4A8C-832B-11046074747A}" dt="2023-09-27T09:48:09.185" v="10825" actId="931"/>
          <ac:spMkLst>
            <pc:docMk/>
            <pc:sldMk cId="4180894462" sldId="319"/>
            <ac:spMk id="19" creationId="{5A967870-8922-DA50-7497-791F25ACB19E}"/>
          </ac:spMkLst>
        </pc:spChg>
        <pc:picChg chg="del">
          <ac:chgData name="Tobias Brammer" userId="80a1e1bd-3b82-47a5-b259-da62a397db92" providerId="ADAL" clId="{CC804E0E-B381-4A8C-832B-11046074747A}" dt="2023-09-27T09:48:04.768" v="10824" actId="478"/>
          <ac:picMkLst>
            <pc:docMk/>
            <pc:sldMk cId="4180894462" sldId="319"/>
            <ac:picMk id="22" creationId="{5CEAF9BE-0C77-42EF-A843-2DD67A37E7E0}"/>
          </ac:picMkLst>
        </pc:picChg>
        <pc:picChg chg="add mod">
          <ac:chgData name="Tobias Brammer" userId="80a1e1bd-3b82-47a5-b259-da62a397db92" providerId="ADAL" clId="{CC804E0E-B381-4A8C-832B-11046074747A}" dt="2023-09-27T09:48:09.185" v="10825" actId="931"/>
          <ac:picMkLst>
            <pc:docMk/>
            <pc:sldMk cId="4180894462" sldId="319"/>
            <ac:picMk id="23" creationId="{0B637C6C-456C-8023-CD6E-7BBDBDCB184D}"/>
          </ac:picMkLst>
        </pc:picChg>
      </pc:sldChg>
      <pc:sldChg chg="addSp delSp modSp add mod ord">
        <pc:chgData name="Tobias Brammer" userId="80a1e1bd-3b82-47a5-b259-da62a397db92" providerId="ADAL" clId="{CC804E0E-B381-4A8C-832B-11046074747A}" dt="2023-09-27T11:37:48.493" v="11060" actId="20577"/>
        <pc:sldMkLst>
          <pc:docMk/>
          <pc:sldMk cId="1357849748" sldId="320"/>
        </pc:sldMkLst>
        <pc:spChg chg="del mod">
          <ac:chgData name="Tobias Brammer" userId="80a1e1bd-3b82-47a5-b259-da62a397db92" providerId="ADAL" clId="{CC804E0E-B381-4A8C-832B-11046074747A}" dt="2023-09-27T08:09:51.149" v="4888" actId="478"/>
          <ac:spMkLst>
            <pc:docMk/>
            <pc:sldMk cId="1357849748" sldId="320"/>
            <ac:spMk id="2" creationId="{F7A7B11F-5560-4450-B29C-AA36EE47DBD5}"/>
          </ac:spMkLst>
        </pc:spChg>
        <pc:spChg chg="del mod">
          <ac:chgData name="Tobias Brammer" userId="80a1e1bd-3b82-47a5-b259-da62a397db92" providerId="ADAL" clId="{CC804E0E-B381-4A8C-832B-11046074747A}" dt="2023-09-27T08:09:46.925" v="4886" actId="478"/>
          <ac:spMkLst>
            <pc:docMk/>
            <pc:sldMk cId="1357849748" sldId="320"/>
            <ac:spMk id="3" creationId="{DBBA62F8-ABAB-0796-5D4F-277CA4383CB2}"/>
          </ac:spMkLst>
        </pc:spChg>
        <pc:spChg chg="mod">
          <ac:chgData name="Tobias Brammer" userId="80a1e1bd-3b82-47a5-b259-da62a397db92" providerId="ADAL" clId="{CC804E0E-B381-4A8C-832B-11046074747A}" dt="2023-09-27T11:37:48.493" v="11060" actId="20577"/>
          <ac:spMkLst>
            <pc:docMk/>
            <pc:sldMk cId="1357849748" sldId="320"/>
            <ac:spMk id="5" creationId="{0256447C-D35F-4F86-D90B-E90F6B46AE7F}"/>
          </ac:spMkLst>
        </pc:spChg>
        <pc:spChg chg="del">
          <ac:chgData name="Tobias Brammer" userId="80a1e1bd-3b82-47a5-b259-da62a397db92" providerId="ADAL" clId="{CC804E0E-B381-4A8C-832B-11046074747A}" dt="2023-09-27T08:09:27.361" v="4883" actId="478"/>
          <ac:spMkLst>
            <pc:docMk/>
            <pc:sldMk cId="1357849748" sldId="320"/>
            <ac:spMk id="6" creationId="{8FC4456C-8838-4F8B-8B1E-95CBD5B2E38B}"/>
          </ac:spMkLst>
        </pc:spChg>
        <pc:spChg chg="add del mod">
          <ac:chgData name="Tobias Brammer" userId="80a1e1bd-3b82-47a5-b259-da62a397db92" providerId="ADAL" clId="{CC804E0E-B381-4A8C-832B-11046074747A}" dt="2023-09-27T08:09:44.842" v="4885" actId="478"/>
          <ac:spMkLst>
            <pc:docMk/>
            <pc:sldMk cId="1357849748" sldId="320"/>
            <ac:spMk id="8" creationId="{497941BD-CE9B-2966-E6CD-598BB18D6C16}"/>
          </ac:spMkLst>
        </pc:spChg>
        <pc:spChg chg="add mod">
          <ac:chgData name="Tobias Brammer" userId="80a1e1bd-3b82-47a5-b259-da62a397db92" providerId="ADAL" clId="{CC804E0E-B381-4A8C-832B-11046074747A}" dt="2023-09-27T08:10:01.135" v="4905" actId="948"/>
          <ac:spMkLst>
            <pc:docMk/>
            <pc:sldMk cId="1357849748" sldId="320"/>
            <ac:spMk id="10" creationId="{AF9B0DCC-E14E-05AE-4D33-CE315A7426D6}"/>
          </ac:spMkLst>
        </pc:spChg>
        <pc:spChg chg="add del">
          <ac:chgData name="Tobias Brammer" userId="80a1e1bd-3b82-47a5-b259-da62a397db92" providerId="ADAL" clId="{CC804E0E-B381-4A8C-832B-11046074747A}" dt="2023-09-27T08:17:07.795" v="6027" actId="22"/>
          <ac:spMkLst>
            <pc:docMk/>
            <pc:sldMk cId="1357849748" sldId="320"/>
            <ac:spMk id="12" creationId="{C98DE494-0337-F053-1BE3-0884F7B0C287}"/>
          </ac:spMkLst>
        </pc:spChg>
        <pc:graphicFrameChg chg="mod">
          <ac:chgData name="Tobias Brammer" userId="80a1e1bd-3b82-47a5-b259-da62a397db92" providerId="ADAL" clId="{CC804E0E-B381-4A8C-832B-11046074747A}" dt="2023-09-27T08:10:01.145" v="4909"/>
          <ac:graphicFrameMkLst>
            <pc:docMk/>
            <pc:sldMk cId="1357849748" sldId="320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CC804E0E-B381-4A8C-832B-11046074747A}" dt="2023-09-27T09:34:52.525" v="9370" actId="404"/>
        <pc:sldMkLst>
          <pc:docMk/>
          <pc:sldMk cId="1578015824" sldId="321"/>
        </pc:sldMkLst>
        <pc:spChg chg="mod">
          <ac:chgData name="Tobias Brammer" userId="80a1e1bd-3b82-47a5-b259-da62a397db92" providerId="ADAL" clId="{CC804E0E-B381-4A8C-832B-11046074747A}" dt="2023-09-27T07:49:56.699" v="2125" actId="948"/>
          <ac:spMkLst>
            <pc:docMk/>
            <pc:sldMk cId="1578015824" sldId="321"/>
            <ac:spMk id="2" creationId="{F7A7B11F-5560-4450-B29C-AA36EE47DBD5}"/>
          </ac:spMkLst>
        </pc:spChg>
        <pc:spChg chg="del mod">
          <ac:chgData name="Tobias Brammer" userId="80a1e1bd-3b82-47a5-b259-da62a397db92" providerId="ADAL" clId="{CC804E0E-B381-4A8C-832B-11046074747A}" dt="2023-09-27T09:26:49.961" v="8689" actId="478"/>
          <ac:spMkLst>
            <pc:docMk/>
            <pc:sldMk cId="1578015824" sldId="321"/>
            <ac:spMk id="6" creationId="{8FC4456C-8838-4F8B-8B1E-95CBD5B2E38B}"/>
          </ac:spMkLst>
        </pc:spChg>
        <pc:spChg chg="add del mod">
          <ac:chgData name="Tobias Brammer" userId="80a1e1bd-3b82-47a5-b259-da62a397db92" providerId="ADAL" clId="{CC804E0E-B381-4A8C-832B-11046074747A}" dt="2023-09-27T09:26:54.480" v="8691" actId="478"/>
          <ac:spMkLst>
            <pc:docMk/>
            <pc:sldMk cId="1578015824" sldId="321"/>
            <ac:spMk id="13" creationId="{CB10C27B-A6D7-33F5-C87F-BB9FEDDC9CB3}"/>
          </ac:spMkLst>
        </pc:spChg>
        <pc:spChg chg="add del mod">
          <ac:chgData name="Tobias Brammer" userId="80a1e1bd-3b82-47a5-b259-da62a397db92" providerId="ADAL" clId="{CC804E0E-B381-4A8C-832B-11046074747A}" dt="2023-09-27T09:28:24.113" v="8708"/>
          <ac:spMkLst>
            <pc:docMk/>
            <pc:sldMk cId="1578015824" sldId="321"/>
            <ac:spMk id="14" creationId="{DC353ED6-7823-01A1-65F4-712C3EBB52B4}"/>
          </ac:spMkLst>
        </pc:spChg>
        <pc:spChg chg="add mod">
          <ac:chgData name="Tobias Brammer" userId="80a1e1bd-3b82-47a5-b259-da62a397db92" providerId="ADAL" clId="{CC804E0E-B381-4A8C-832B-11046074747A}" dt="2023-09-27T09:34:52.525" v="9370" actId="404"/>
          <ac:spMkLst>
            <pc:docMk/>
            <pc:sldMk cId="1578015824" sldId="321"/>
            <ac:spMk id="15" creationId="{7D65E0FF-8C35-EF72-D70A-B1F4A543BBB0}"/>
          </ac:spMkLst>
        </pc:spChg>
        <pc:grpChg chg="del">
          <ac:chgData name="Tobias Brammer" userId="80a1e1bd-3b82-47a5-b259-da62a397db92" providerId="ADAL" clId="{CC804E0E-B381-4A8C-832B-11046074747A}" dt="2023-09-27T09:23:20.849" v="8670" actId="478"/>
          <ac:grpSpMkLst>
            <pc:docMk/>
            <pc:sldMk cId="1578015824" sldId="321"/>
            <ac:grpSpMk id="23" creationId="{38285DF7-26A5-0B52-5D8A-45F17BF22272}"/>
          </ac:grpSpMkLst>
        </pc:grpChg>
        <pc:graphicFrameChg chg="mod">
          <ac:chgData name="Tobias Brammer" userId="80a1e1bd-3b82-47a5-b259-da62a397db92" providerId="ADAL" clId="{CC804E0E-B381-4A8C-832B-11046074747A}" dt="2023-09-27T07:49:56.699" v="2129"/>
          <ac:graphicFrameMkLst>
            <pc:docMk/>
            <pc:sldMk cId="1578015824" sldId="321"/>
            <ac:graphicFrameMk id="4" creationId="{79C05AFC-9555-D40C-AD9D-3E13BD0A4FC2}"/>
          </ac:graphicFrameMkLst>
        </pc:graphicFrameChg>
        <pc:picChg chg="add mod">
          <ac:chgData name="Tobias Brammer" userId="80a1e1bd-3b82-47a5-b259-da62a397db92" providerId="ADAL" clId="{CC804E0E-B381-4A8C-832B-11046074747A}" dt="2023-09-27T09:31:10.167" v="8875" actId="1076"/>
          <ac:picMkLst>
            <pc:docMk/>
            <pc:sldMk cId="1578015824" sldId="321"/>
            <ac:picMk id="5" creationId="{49FEF599-4481-3F8B-4151-51CFB1C73A1D}"/>
          </ac:picMkLst>
        </pc:picChg>
        <pc:picChg chg="add mod">
          <ac:chgData name="Tobias Brammer" userId="80a1e1bd-3b82-47a5-b259-da62a397db92" providerId="ADAL" clId="{CC804E0E-B381-4A8C-832B-11046074747A}" dt="2023-09-27T09:30:47.716" v="8872" actId="1076"/>
          <ac:picMkLst>
            <pc:docMk/>
            <pc:sldMk cId="1578015824" sldId="321"/>
            <ac:picMk id="8" creationId="{7AC3476A-B839-CB17-91E2-ACF997C5763B}"/>
          </ac:picMkLst>
        </pc:picChg>
        <pc:picChg chg="add mod">
          <ac:chgData name="Tobias Brammer" userId="80a1e1bd-3b82-47a5-b259-da62a397db92" providerId="ADAL" clId="{CC804E0E-B381-4A8C-832B-11046074747A}" dt="2023-09-27T09:30:51.291" v="8873" actId="1076"/>
          <ac:picMkLst>
            <pc:docMk/>
            <pc:sldMk cId="1578015824" sldId="321"/>
            <ac:picMk id="11" creationId="{BD1D84C1-6A33-A37C-5477-C4E523C619A0}"/>
          </ac:picMkLst>
        </pc:picChg>
      </pc:sldChg>
      <pc:sldChg chg="addSp delSp modSp add del mod">
        <pc:chgData name="Tobias Brammer" userId="80a1e1bd-3b82-47a5-b259-da62a397db92" providerId="ADAL" clId="{CC804E0E-B381-4A8C-832B-11046074747A}" dt="2023-09-27T09:36:10.162" v="9422" actId="47"/>
        <pc:sldMkLst>
          <pc:docMk/>
          <pc:sldMk cId="1958460576" sldId="322"/>
        </pc:sldMkLst>
        <pc:spChg chg="mod">
          <ac:chgData name="Tobias Brammer" userId="80a1e1bd-3b82-47a5-b259-da62a397db92" providerId="ADAL" clId="{CC804E0E-B381-4A8C-832B-11046074747A}" dt="2023-09-27T07:49:43.087" v="2059" actId="948"/>
          <ac:spMkLst>
            <pc:docMk/>
            <pc:sldMk cId="1958460576" sldId="322"/>
            <ac:spMk id="2" creationId="{2BD5074D-D1F9-B9F7-DACD-88F097B4D5CD}"/>
          </ac:spMkLst>
        </pc:spChg>
        <pc:spChg chg="add del mod modVis">
          <ac:chgData name="Tobias Brammer" userId="80a1e1bd-3b82-47a5-b259-da62a397db92" providerId="ADAL" clId="{CC804E0E-B381-4A8C-832B-11046074747A}" dt="2023-09-27T07:49:42.180" v="2053"/>
          <ac:spMkLst>
            <pc:docMk/>
            <pc:sldMk cId="1958460576" sldId="322"/>
            <ac:spMk id="3" creationId="{557CBCD7-6A86-F68B-9C64-2359AEBD6685}"/>
          </ac:spMkLst>
        </pc:spChg>
        <pc:spChg chg="add del mod modVis">
          <ac:chgData name="Tobias Brammer" userId="80a1e1bd-3b82-47a5-b259-da62a397db92" providerId="ADAL" clId="{CC804E0E-B381-4A8C-832B-11046074747A}" dt="2023-09-27T07:49:43.119" v="2100"/>
          <ac:spMkLst>
            <pc:docMk/>
            <pc:sldMk cId="1958460576" sldId="322"/>
            <ac:spMk id="5" creationId="{AD427474-9F64-FF3C-6F52-71F93A234899}"/>
          </ac:spMkLst>
        </pc:spChg>
        <pc:graphicFrameChg chg="mod">
          <ac:chgData name="Tobias Brammer" userId="80a1e1bd-3b82-47a5-b259-da62a397db92" providerId="ADAL" clId="{CC804E0E-B381-4A8C-832B-11046074747A}" dt="2023-09-27T07:49:43.119" v="2102"/>
          <ac:graphicFrameMkLst>
            <pc:docMk/>
            <pc:sldMk cId="1958460576" sldId="322"/>
            <ac:graphicFrameMk id="4" creationId="{DA4F5744-822E-272D-9EB9-E4CFFB864E67}"/>
          </ac:graphicFrameMkLst>
        </pc:graphicFrameChg>
      </pc:sldChg>
      <pc:sldChg chg="addSp delSp modSp add mod ord">
        <pc:chgData name="Tobias Brammer" userId="80a1e1bd-3b82-47a5-b259-da62a397db92" providerId="ADAL" clId="{CC804E0E-B381-4A8C-832B-11046074747A}" dt="2023-09-27T11:43:24.858" v="11066" actId="1076"/>
        <pc:sldMkLst>
          <pc:docMk/>
          <pc:sldMk cId="2844577089" sldId="323"/>
        </pc:sldMkLst>
        <pc:spChg chg="mod">
          <ac:chgData name="Tobias Brammer" userId="80a1e1bd-3b82-47a5-b259-da62a397db92" providerId="ADAL" clId="{CC804E0E-B381-4A8C-832B-11046074747A}" dt="2023-09-27T11:33:37.295" v="10886" actId="14100"/>
          <ac:spMkLst>
            <pc:docMk/>
            <pc:sldMk cId="2844577089" sldId="323"/>
            <ac:spMk id="5" creationId="{0256447C-D35F-4F86-D90B-E90F6B46AE7F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6" creationId="{261461FB-83E0-5FDD-9BE1-F7256B11117D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7" creationId="{D915A7C8-18E7-9F6D-69FA-5F58CBF61B2C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8" creationId="{A720C645-AD8A-B352-6BA6-FE694E0BB373}"/>
          </ac:spMkLst>
        </pc:spChg>
        <pc:spChg chg="add del mod">
          <ac:chgData name="Tobias Brammer" userId="80a1e1bd-3b82-47a5-b259-da62a397db92" providerId="ADAL" clId="{CC804E0E-B381-4A8C-832B-11046074747A}" dt="2023-09-27T11:34:32.227" v="10898" actId="767"/>
          <ac:spMkLst>
            <pc:docMk/>
            <pc:sldMk cId="2844577089" sldId="323"/>
            <ac:spMk id="9" creationId="{1685A144-A8FF-455D-9A24-1B6E3EFE99E3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11" creationId="{79660714-93A2-B1F1-FCAB-EB279243CD5B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12" creationId="{E3675E47-C60A-2475-BA97-E695998FCECC}"/>
          </ac:spMkLst>
        </pc:spChg>
        <pc:spChg chg="add mod">
          <ac:chgData name="Tobias Brammer" userId="80a1e1bd-3b82-47a5-b259-da62a397db92" providerId="ADAL" clId="{CC804E0E-B381-4A8C-832B-11046074747A}" dt="2023-09-27T11:36:12.939" v="10948" actId="164"/>
          <ac:spMkLst>
            <pc:docMk/>
            <pc:sldMk cId="2844577089" sldId="323"/>
            <ac:spMk id="13" creationId="{175DD20F-30CF-FCCE-1FC6-119D285E9E68}"/>
          </ac:spMkLst>
        </pc:spChg>
        <pc:grpChg chg="add mod">
          <ac:chgData name="Tobias Brammer" userId="80a1e1bd-3b82-47a5-b259-da62a397db92" providerId="ADAL" clId="{CC804E0E-B381-4A8C-832B-11046074747A}" dt="2023-09-27T11:35:56.741" v="10947" actId="164"/>
          <ac:grpSpMkLst>
            <pc:docMk/>
            <pc:sldMk cId="2844577089" sldId="323"/>
            <ac:grpSpMk id="14" creationId="{4994A470-4E84-3944-3C70-3D0A0D9EDD93}"/>
          </ac:grpSpMkLst>
        </pc:grpChg>
        <pc:grpChg chg="add del mod">
          <ac:chgData name="Tobias Brammer" userId="80a1e1bd-3b82-47a5-b259-da62a397db92" providerId="ADAL" clId="{CC804E0E-B381-4A8C-832B-11046074747A}" dt="2023-09-27T11:43:13.972" v="11063" actId="478"/>
          <ac:grpSpMkLst>
            <pc:docMk/>
            <pc:sldMk cId="2844577089" sldId="323"/>
            <ac:grpSpMk id="15" creationId="{16B5AE6B-514F-F6EB-5470-81E911F7A14A}"/>
          </ac:grpSpMkLst>
        </pc:grpChg>
        <pc:picChg chg="add mod">
          <ac:chgData name="Tobias Brammer" userId="80a1e1bd-3b82-47a5-b259-da62a397db92" providerId="ADAL" clId="{CC804E0E-B381-4A8C-832B-11046074747A}" dt="2023-09-27T11:36:12.939" v="10948" actId="164"/>
          <ac:picMkLst>
            <pc:docMk/>
            <pc:sldMk cId="2844577089" sldId="323"/>
            <ac:picMk id="3" creationId="{1B0F57D6-9FD0-4BE2-EC77-46F55C10907D}"/>
          </ac:picMkLst>
        </pc:picChg>
        <pc:picChg chg="add mod">
          <ac:chgData name="Tobias Brammer" userId="80a1e1bd-3b82-47a5-b259-da62a397db92" providerId="ADAL" clId="{CC804E0E-B381-4A8C-832B-11046074747A}" dt="2023-09-27T11:43:24.858" v="11066" actId="1076"/>
          <ac:picMkLst>
            <pc:docMk/>
            <pc:sldMk cId="2844577089" sldId="323"/>
            <ac:picMk id="9" creationId="{E15673A4-9DF1-0497-61E6-DB151E491FFE}"/>
          </ac:picMkLst>
        </pc:picChg>
      </pc:sldChg>
      <pc:sldChg chg="modSp add mod">
        <pc:chgData name="Tobias Brammer" userId="80a1e1bd-3b82-47a5-b259-da62a397db92" providerId="ADAL" clId="{CC804E0E-B381-4A8C-832B-11046074747A}" dt="2023-09-28T09:01:32.348" v="11856" actId="20577"/>
        <pc:sldMkLst>
          <pc:docMk/>
          <pc:sldMk cId="3780667075" sldId="324"/>
        </pc:sldMkLst>
        <pc:spChg chg="mod">
          <ac:chgData name="Tobias Brammer" userId="80a1e1bd-3b82-47a5-b259-da62a397db92" providerId="ADAL" clId="{CC804E0E-B381-4A8C-832B-11046074747A}" dt="2023-09-28T09:01:32.348" v="11856" actId="20577"/>
          <ac:spMkLst>
            <pc:docMk/>
            <pc:sldMk cId="3780667075" sldId="324"/>
            <ac:spMk id="10" creationId="{6123F9E9-4EDA-8639-0B90-4D3A855C3D7A}"/>
          </ac:spMkLst>
        </pc:spChg>
      </pc:sldChg>
      <pc:sldChg chg="modSp add mod modNotesTx">
        <pc:chgData name="Tobias Brammer" userId="80a1e1bd-3b82-47a5-b259-da62a397db92" providerId="ADAL" clId="{CC804E0E-B381-4A8C-832B-11046074747A}" dt="2023-09-28T06:32:00.714" v="11072" actId="20577"/>
        <pc:sldMkLst>
          <pc:docMk/>
          <pc:sldMk cId="2214565963" sldId="325"/>
        </pc:sldMkLst>
        <pc:spChg chg="mod">
          <ac:chgData name="Tobias Brammer" userId="80a1e1bd-3b82-47a5-b259-da62a397db92" providerId="ADAL" clId="{CC804E0E-B381-4A8C-832B-11046074747A}" dt="2023-09-28T06:32:00.714" v="11072" actId="20577"/>
          <ac:spMkLst>
            <pc:docMk/>
            <pc:sldMk cId="2214565963" sldId="325"/>
            <ac:spMk id="10" creationId="{6123F9E9-4EDA-8639-0B90-4D3A855C3D7A}"/>
          </ac:spMkLst>
        </pc:spChg>
      </pc:sldChg>
      <pc:sldChg chg="addSp delSp modSp add mod">
        <pc:chgData name="Tobias Brammer" userId="80a1e1bd-3b82-47a5-b259-da62a397db92" providerId="ADAL" clId="{CC804E0E-B381-4A8C-832B-11046074747A}" dt="2023-09-27T09:40:49.649" v="10188" actId="20577"/>
        <pc:sldMkLst>
          <pc:docMk/>
          <pc:sldMk cId="3972108527" sldId="326"/>
        </pc:sldMkLst>
        <pc:spChg chg="mod">
          <ac:chgData name="Tobias Brammer" userId="80a1e1bd-3b82-47a5-b259-da62a397db92" providerId="ADAL" clId="{CC804E0E-B381-4A8C-832B-11046074747A}" dt="2023-09-27T09:36:17.784" v="9505" actId="948"/>
          <ac:spMkLst>
            <pc:docMk/>
            <pc:sldMk cId="3972108527" sldId="326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CC804E0E-B381-4A8C-832B-11046074747A}" dt="2023-09-27T09:36:16.061" v="9492"/>
          <ac:spMkLst>
            <pc:docMk/>
            <pc:sldMk cId="3972108527" sldId="326"/>
            <ac:spMk id="3" creationId="{20B2059E-E4F9-AC6D-0D18-CBDA3FA36DEB}"/>
          </ac:spMkLst>
        </pc:spChg>
        <pc:spChg chg="add del mod modVis">
          <ac:chgData name="Tobias Brammer" userId="80a1e1bd-3b82-47a5-b259-da62a397db92" providerId="ADAL" clId="{CC804E0E-B381-4A8C-832B-11046074747A}" dt="2023-09-27T09:36:17.800" v="9546"/>
          <ac:spMkLst>
            <pc:docMk/>
            <pc:sldMk cId="3972108527" sldId="326"/>
            <ac:spMk id="5" creationId="{9819A439-6EB8-2CA6-6687-A469639B2965}"/>
          </ac:spMkLst>
        </pc:spChg>
        <pc:spChg chg="mod">
          <ac:chgData name="Tobias Brammer" userId="80a1e1bd-3b82-47a5-b259-da62a397db92" providerId="ADAL" clId="{CC804E0E-B381-4A8C-832B-11046074747A}" dt="2023-09-27T09:40:49.649" v="10188" actId="20577"/>
          <ac:spMkLst>
            <pc:docMk/>
            <pc:sldMk cId="3972108527" sldId="326"/>
            <ac:spMk id="7" creationId="{DEC53627-8BE2-118B-148A-8A775CEDD3D3}"/>
          </ac:spMkLst>
        </pc:spChg>
        <pc:graphicFrameChg chg="mod">
          <ac:chgData name="Tobias Brammer" userId="80a1e1bd-3b82-47a5-b259-da62a397db92" providerId="ADAL" clId="{CC804E0E-B381-4A8C-832B-11046074747A}" dt="2023-09-27T09:36:17.815" v="9548"/>
          <ac:graphicFrameMkLst>
            <pc:docMk/>
            <pc:sldMk cId="3972108527" sldId="326"/>
            <ac:graphicFrameMk id="4" creationId="{79C05AFC-9555-D40C-AD9D-3E13BD0A4FC2}"/>
          </ac:graphicFrameMkLst>
        </pc:graphicFrameChg>
      </pc:sldChg>
      <pc:sldChg chg="modSp add mod">
        <pc:chgData name="Tobias Brammer" userId="80a1e1bd-3b82-47a5-b259-da62a397db92" providerId="ADAL" clId="{CC804E0E-B381-4A8C-832B-11046074747A}" dt="2023-09-28T08:48:38.766" v="11847" actId="404"/>
        <pc:sldMkLst>
          <pc:docMk/>
          <pc:sldMk cId="762254632" sldId="327"/>
        </pc:sldMkLst>
        <pc:spChg chg="mod">
          <ac:chgData name="Tobias Brammer" userId="80a1e1bd-3b82-47a5-b259-da62a397db92" providerId="ADAL" clId="{CC804E0E-B381-4A8C-832B-11046074747A}" dt="2023-09-28T08:48:38.766" v="11847" actId="404"/>
          <ac:spMkLst>
            <pc:docMk/>
            <pc:sldMk cId="762254632" sldId="327"/>
            <ac:spMk id="5" creationId="{0256447C-D35F-4F86-D90B-E90F6B46AE7F}"/>
          </ac:spMkLst>
        </pc:spChg>
      </pc:sldChg>
      <pc:sldChg chg="modSp add mod">
        <pc:chgData name="Tobias Brammer" userId="80a1e1bd-3b82-47a5-b259-da62a397db92" providerId="ADAL" clId="{CC804E0E-B381-4A8C-832B-11046074747A}" dt="2023-09-29T12:15:28.061" v="11875" actId="20577"/>
        <pc:sldMkLst>
          <pc:docMk/>
          <pc:sldMk cId="3444026750" sldId="328"/>
        </pc:sldMkLst>
        <pc:spChg chg="mod">
          <ac:chgData name="Tobias Brammer" userId="80a1e1bd-3b82-47a5-b259-da62a397db92" providerId="ADAL" clId="{CC804E0E-B381-4A8C-832B-11046074747A}" dt="2023-09-29T12:15:28.061" v="11875" actId="20577"/>
          <ac:spMkLst>
            <pc:docMk/>
            <pc:sldMk cId="3444026750" sldId="328"/>
            <ac:spMk id="10" creationId="{6123F9E9-4EDA-8639-0B90-4D3A855C3D7A}"/>
          </ac:spMkLst>
        </pc:spChg>
      </pc:sldChg>
      <pc:sldMasterChg chg="addSp delSp modSp mod modSldLayout">
        <pc:chgData name="Tobias Brammer" userId="80a1e1bd-3b82-47a5-b259-da62a397db92" providerId="ADAL" clId="{CC804E0E-B381-4A8C-832B-11046074747A}" dt="2023-09-27T07:39:03.687" v="1617"/>
        <pc:sldMasterMkLst>
          <pc:docMk/>
          <pc:sldMasterMk cId="408341288" sldId="2147483648"/>
        </pc:sldMasterMkLst>
        <pc:spChg chg="mod">
          <ac:chgData name="Tobias Brammer" userId="80a1e1bd-3b82-47a5-b259-da62a397db92" providerId="ADAL" clId="{CC804E0E-B381-4A8C-832B-11046074747A}" dt="2023-09-27T07:39:02.972" v="616" actId="948"/>
          <ac:spMkLst>
            <pc:docMk/>
            <pc:sldMasterMk cId="408341288" sldId="2147483648"/>
            <ac:spMk id="2" creationId="{00000000-0000-0000-0000-000000000000}"/>
          </ac:spMkLst>
        </pc:spChg>
        <pc:spChg chg="mod">
          <ac:chgData name="Tobias Brammer" userId="80a1e1bd-3b82-47a5-b259-da62a397db92" providerId="ADAL" clId="{CC804E0E-B381-4A8C-832B-11046074747A}" dt="2023-09-27T07:39:01.709" v="425" actId="790"/>
          <ac:spMkLst>
            <pc:docMk/>
            <pc:sldMasterMk cId="408341288" sldId="2147483648"/>
            <ac:spMk id="3" creationId="{00000000-0000-0000-0000-000000000000}"/>
          </ac:spMkLst>
        </pc:spChg>
        <pc:spChg chg="add del mod modVis">
          <ac:chgData name="Tobias Brammer" userId="80a1e1bd-3b82-47a5-b259-da62a397db92" providerId="ADAL" clId="{CC804E0E-B381-4A8C-832B-11046074747A}" dt="2023-09-27T07:39:03.615" v="1533"/>
          <ac:spMkLst>
            <pc:docMk/>
            <pc:sldMasterMk cId="408341288" sldId="2147483648"/>
            <ac:spMk id="4" creationId="{B5677198-5BC8-C7DD-8B7D-649876407A73}"/>
          </ac:spMkLst>
        </pc:spChg>
        <pc:spChg chg="mod">
          <ac:chgData name="Tobias Brammer" userId="80a1e1bd-3b82-47a5-b259-da62a397db92" providerId="ADAL" clId="{CC804E0E-B381-4A8C-832B-11046074747A}" dt="2023-09-27T07:39:01.709" v="426" actId="790"/>
          <ac:spMkLst>
            <pc:docMk/>
            <pc:sldMasterMk cId="408341288" sldId="2147483648"/>
            <ac:spMk id="6" creationId="{00000000-0000-0000-0000-000000000000}"/>
          </ac:spMkLst>
        </pc:spChg>
        <pc:spChg chg="mod">
          <ac:chgData name="Tobias Brammer" userId="80a1e1bd-3b82-47a5-b259-da62a397db92" providerId="ADAL" clId="{CC804E0E-B381-4A8C-832B-11046074747A}" dt="2023-09-27T07:39:01.709" v="428" actId="947"/>
          <ac:spMkLst>
            <pc:docMk/>
            <pc:sldMasterMk cId="408341288" sldId="2147483648"/>
            <ac:spMk id="16" creationId="{41CBECE6-4121-4040-93C2-1D43AFE5C05D}"/>
          </ac:spMkLst>
        </pc:spChg>
        <pc:graphicFrameChg chg="mod">
          <ac:chgData name="Tobias Brammer" userId="80a1e1bd-3b82-47a5-b259-da62a397db92" providerId="ADAL" clId="{CC804E0E-B381-4A8C-832B-11046074747A}" dt="2023-09-27T07:39:03.615" v="1535"/>
          <ac:graphicFrameMkLst>
            <pc:docMk/>
            <pc:sldMasterMk cId="408341288" sldId="2147483648"/>
            <ac:graphicFrameMk id="5" creationId="{DDE25FA5-E514-CFB8-9A3C-3E423FEA643B}"/>
          </ac:graphicFrameMkLst>
        </pc:graphicFrameChg>
        <pc:sldLayoutChg chg="addSp delSp modSp mod">
          <pc:chgData name="Tobias Brammer" userId="80a1e1bd-3b82-47a5-b259-da62a397db92" providerId="ADAL" clId="{CC804E0E-B381-4A8C-832B-11046074747A}" dt="2023-09-27T07:39:03.630" v="1567"/>
          <pc:sldLayoutMkLst>
            <pc:docMk/>
            <pc:sldMasterMk cId="408341288" sldId="2147483648"/>
            <pc:sldLayoutMk cId="1576694700" sldId="2147483650"/>
          </pc:sldLayoutMkLst>
          <pc:spChg chg="mod">
            <ac:chgData name="Tobias Brammer" userId="80a1e1bd-3b82-47a5-b259-da62a397db92" providerId="ADAL" clId="{CC804E0E-B381-4A8C-832B-11046074747A}" dt="2023-09-27T07:39:03.176" v="920" actId="948"/>
            <ac:spMkLst>
              <pc:docMk/>
              <pc:sldMasterMk cId="408341288" sldId="2147483648"/>
              <pc:sldLayoutMk cId="1576694700" sldId="2147483650"/>
              <ac:spMk id="2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65"/>
            <ac:spMkLst>
              <pc:docMk/>
              <pc:sldMasterMk cId="408341288" sldId="2147483648"/>
              <pc:sldLayoutMk cId="1576694700" sldId="2147483650"/>
              <ac:spMk id="3" creationId="{8700630A-7B4D-D652-F371-CF7353F1514B}"/>
            </ac:spMkLst>
          </pc:spChg>
          <pc:spChg chg="mod">
            <ac:chgData name="Tobias Brammer" userId="80a1e1bd-3b82-47a5-b259-da62a397db92" providerId="ADAL" clId="{CC804E0E-B381-4A8C-832B-11046074747A}" dt="2023-09-27T07:39:01.910" v="477" actId="790"/>
            <ac:spMkLst>
              <pc:docMk/>
              <pc:sldMasterMk cId="408341288" sldId="2147483648"/>
              <pc:sldLayoutMk cId="1576694700" sldId="2147483650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CC804E0E-B381-4A8C-832B-11046074747A}" dt="2023-09-27T07:39:01.910" v="478" actId="790"/>
            <ac:spMkLst>
              <pc:docMk/>
              <pc:sldMasterMk cId="408341288" sldId="2147483648"/>
              <pc:sldLayoutMk cId="1576694700" sldId="2147483650"/>
              <ac:spMk id="10" creationId="{CD368082-6B4C-4E17-B467-EDE690A0632A}"/>
            </ac:spMkLst>
          </pc:spChg>
          <pc:graphicFrameChg chg="mod">
            <ac:chgData name="Tobias Brammer" userId="80a1e1bd-3b82-47a5-b259-da62a397db92" providerId="ADAL" clId="{CC804E0E-B381-4A8C-832B-11046074747A}" dt="2023-09-27T07:39:03.630" v="1567"/>
            <ac:graphicFrameMkLst>
              <pc:docMk/>
              <pc:sldMasterMk cId="408341288" sldId="2147483648"/>
              <pc:sldLayoutMk cId="1576694700" sldId="2147483650"/>
              <ac:graphicFrameMk id="4" creationId="{1B7D2480-7036-710B-1778-3F9B8F54412B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87" v="1615"/>
          <pc:sldLayoutMkLst>
            <pc:docMk/>
            <pc:sldMasterMk cId="408341288" sldId="2147483648"/>
            <pc:sldLayoutMk cId="799966409" sldId="2147483654"/>
          </pc:sldLayoutMkLst>
          <pc:spChg chg="mod">
            <ac:chgData name="Tobias Brammer" userId="80a1e1bd-3b82-47a5-b259-da62a397db92" providerId="ADAL" clId="{CC804E0E-B381-4A8C-832B-11046074747A}" dt="2023-09-27T07:39:03.477" v="1338" actId="948"/>
            <ac:spMkLst>
              <pc:docMk/>
              <pc:sldMasterMk cId="408341288" sldId="2147483648"/>
              <pc:sldLayoutMk cId="799966409" sldId="2147483654"/>
              <ac:spMk id="2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72" v="1613"/>
            <ac:spMkLst>
              <pc:docMk/>
              <pc:sldMasterMk cId="408341288" sldId="2147483648"/>
              <pc:sldLayoutMk cId="799966409" sldId="2147483654"/>
              <ac:spMk id="3" creationId="{3A47640A-60FA-302F-8D66-4D3B1DBC9696}"/>
            </ac:spMkLst>
          </pc:spChg>
          <pc:spChg chg="mod">
            <ac:chgData name="Tobias Brammer" userId="80a1e1bd-3b82-47a5-b259-da62a397db92" providerId="ADAL" clId="{CC804E0E-B381-4A8C-832B-11046074747A}" dt="2023-09-27T07:39:02.242" v="556" actId="790"/>
            <ac:spMkLst>
              <pc:docMk/>
              <pc:sldMasterMk cId="408341288" sldId="2147483648"/>
              <pc:sldLayoutMk cId="799966409" sldId="2147483654"/>
              <ac:spMk id="5" creationId="{00000000-0000-0000-0000-000000000000}"/>
            </ac:spMkLst>
          </pc:spChg>
          <pc:graphicFrameChg chg="mod">
            <ac:chgData name="Tobias Brammer" userId="80a1e1bd-3b82-47a5-b259-da62a397db92" providerId="ADAL" clId="{CC804E0E-B381-4A8C-832B-11046074747A}" dt="2023-09-27T07:39:03.687" v="1615"/>
            <ac:graphicFrameMkLst>
              <pc:docMk/>
              <pc:sldMasterMk cId="408341288" sldId="2147483648"/>
              <pc:sldLayoutMk cId="799966409" sldId="2147483654"/>
              <ac:graphicFrameMk id="4" creationId="{6251417E-2501-E881-FC04-B6D712425DBF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6" v="1599"/>
          <pc:sldLayoutMkLst>
            <pc:docMk/>
            <pc:sldMasterMk cId="408341288" sldId="2147483648"/>
            <pc:sldLayoutMk cId="2002834051" sldId="2147483661"/>
          </pc:sldLayoutMkLst>
          <pc:spChg chg="mod">
            <ac:chgData name="Tobias Brammer" userId="80a1e1bd-3b82-47a5-b259-da62a397db92" providerId="ADAL" clId="{CC804E0E-B381-4A8C-832B-11046074747A}" dt="2023-09-27T07:39:03.399" v="1224" actId="948"/>
            <ac:spMkLst>
              <pc:docMk/>
              <pc:sldMasterMk cId="408341288" sldId="2147483648"/>
              <pc:sldLayoutMk cId="2002834051" sldId="2147483661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56" v="1597"/>
            <ac:spMkLst>
              <pc:docMk/>
              <pc:sldMasterMk cId="408341288" sldId="2147483648"/>
              <pc:sldLayoutMk cId="2002834051" sldId="2147483661"/>
              <ac:spMk id="3" creationId="{37195914-9128-ED8A-D09E-FBB7DF83C450}"/>
            </ac:spMkLst>
          </pc:spChg>
          <pc:spChg chg="mod">
            <ac:chgData name="Tobias Brammer" userId="80a1e1bd-3b82-47a5-b259-da62a397db92" providerId="ADAL" clId="{CC804E0E-B381-4A8C-832B-11046074747A}" dt="2023-09-27T07:39:02.095" v="518" actId="790"/>
            <ac:spMkLst>
              <pc:docMk/>
              <pc:sldMasterMk cId="408341288" sldId="2147483648"/>
              <pc:sldLayoutMk cId="2002834051" sldId="2147483661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111" v="519" actId="790"/>
            <ac:spMkLst>
              <pc:docMk/>
              <pc:sldMasterMk cId="408341288" sldId="2147483648"/>
              <pc:sldLayoutMk cId="2002834051" sldId="2147483661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CC804E0E-B381-4A8C-832B-11046074747A}" dt="2023-09-27T07:39:02.111" v="520" actId="790"/>
            <ac:spMkLst>
              <pc:docMk/>
              <pc:sldMasterMk cId="408341288" sldId="2147483648"/>
              <pc:sldLayoutMk cId="2002834051" sldId="2147483661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CC804E0E-B381-4A8C-832B-11046074747A}" dt="2023-09-27T07:39:02.111" v="521" actId="790"/>
            <ac:spMkLst>
              <pc:docMk/>
              <pc:sldMasterMk cId="408341288" sldId="2147483648"/>
              <pc:sldLayoutMk cId="2002834051" sldId="2147483661"/>
              <ac:spMk id="11" creationId="{40CE05F4-9D00-4DC5-A363-94352566B16D}"/>
            </ac:spMkLst>
          </pc:spChg>
          <pc:spChg chg="mod">
            <ac:chgData name="Tobias Brammer" userId="80a1e1bd-3b82-47a5-b259-da62a397db92" providerId="ADAL" clId="{CC804E0E-B381-4A8C-832B-11046074747A}" dt="2023-09-27T07:39:02.111" v="522" actId="790"/>
            <ac:spMkLst>
              <pc:docMk/>
              <pc:sldMasterMk cId="408341288" sldId="2147483648"/>
              <pc:sldLayoutMk cId="2002834051" sldId="2147483661"/>
              <ac:spMk id="13" creationId="{9DDCD743-188F-4B86-8747-1E373705BA9C}"/>
            </ac:spMkLst>
          </pc:spChg>
          <pc:graphicFrameChg chg="mod">
            <ac:chgData name="Tobias Brammer" userId="80a1e1bd-3b82-47a5-b259-da62a397db92" providerId="ADAL" clId="{CC804E0E-B381-4A8C-832B-11046074747A}" dt="2023-09-27T07:39:03.656" v="1599"/>
            <ac:graphicFrameMkLst>
              <pc:docMk/>
              <pc:sldMasterMk cId="408341288" sldId="2147483648"/>
              <pc:sldLayoutMk cId="2002834051" sldId="2147483661"/>
              <ac:graphicFrameMk id="4" creationId="{ED0CD790-3C72-3174-9BB9-AAC04CCFEA37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15" v="1543"/>
          <pc:sldLayoutMkLst>
            <pc:docMk/>
            <pc:sldMasterMk cId="408341288" sldId="2147483648"/>
            <pc:sldLayoutMk cId="1215719097" sldId="2147483663"/>
          </pc:sldLayoutMkLst>
          <pc:spChg chg="mod">
            <ac:chgData name="Tobias Brammer" userId="80a1e1bd-3b82-47a5-b259-da62a397db92" providerId="ADAL" clId="{CC804E0E-B381-4A8C-832B-11046074747A}" dt="2023-09-27T07:39:03.028" v="692" actId="948"/>
            <ac:spMkLst>
              <pc:docMk/>
              <pc:sldMasterMk cId="408341288" sldId="2147483648"/>
              <pc:sldLayoutMk cId="1215719097" sldId="214748366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72" v="437" actId="790"/>
            <ac:spMkLst>
              <pc:docMk/>
              <pc:sldMasterMk cId="408341288" sldId="2147483648"/>
              <pc:sldLayoutMk cId="1215719097" sldId="2147483663"/>
              <ac:spMk id="3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15" v="1541"/>
            <ac:spMkLst>
              <pc:docMk/>
              <pc:sldMasterMk cId="408341288" sldId="2147483648"/>
              <pc:sldLayoutMk cId="1215719097" sldId="2147483663"/>
              <ac:spMk id="4" creationId="{F23D96E8-C0DF-3B5C-24BE-A02FF55EB66D}"/>
            </ac:spMkLst>
          </pc:spChg>
          <pc:spChg chg="mod">
            <ac:chgData name="Tobias Brammer" userId="80a1e1bd-3b82-47a5-b259-da62a397db92" providerId="ADAL" clId="{CC804E0E-B381-4A8C-832B-11046074747A}" dt="2023-09-27T07:39:01.772" v="438" actId="790"/>
            <ac:spMkLst>
              <pc:docMk/>
              <pc:sldMasterMk cId="408341288" sldId="2147483648"/>
              <pc:sldLayoutMk cId="1215719097" sldId="214748366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56" v="435" actId="790"/>
            <ac:spMkLst>
              <pc:docMk/>
              <pc:sldMasterMk cId="408341288" sldId="2147483648"/>
              <pc:sldLayoutMk cId="1215719097" sldId="214748366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CC804E0E-B381-4A8C-832B-11046074747A}" dt="2023-09-27T07:39:01.772" v="439" actId="790"/>
            <ac:spMkLst>
              <pc:docMk/>
              <pc:sldMasterMk cId="408341288" sldId="2147483648"/>
              <pc:sldLayoutMk cId="1215719097" sldId="2147483663"/>
              <ac:spMk id="18" creationId="{16F701CD-4BAF-4794-A72E-193C61A403C3}"/>
            </ac:spMkLst>
          </pc:spChg>
          <pc:spChg chg="mod">
            <ac:chgData name="Tobias Brammer" userId="80a1e1bd-3b82-47a5-b259-da62a397db92" providerId="ADAL" clId="{CC804E0E-B381-4A8C-832B-11046074747A}" dt="2023-09-27T07:39:01.772" v="441" actId="947"/>
            <ac:spMkLst>
              <pc:docMk/>
              <pc:sldMasterMk cId="408341288" sldId="2147483648"/>
              <pc:sldLayoutMk cId="1215719097" sldId="2147483663"/>
              <ac:spMk id="22" creationId="{7B05331B-4732-4B64-9AE5-022C6BC76C13}"/>
            </ac:spMkLst>
          </pc:spChg>
          <pc:graphicFrameChg chg="mod">
            <ac:chgData name="Tobias Brammer" userId="80a1e1bd-3b82-47a5-b259-da62a397db92" providerId="ADAL" clId="{CC804E0E-B381-4A8C-832B-11046074747A}" dt="2023-09-27T07:39:03.615" v="1543"/>
            <ac:graphicFrameMkLst>
              <pc:docMk/>
              <pc:sldMasterMk cId="408341288" sldId="2147483648"/>
              <pc:sldLayoutMk cId="1215719097" sldId="2147483663"/>
              <ac:graphicFrameMk id="5" creationId="{7C26A0E6-6391-3B1A-8CE6-894498A6F9D0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15" v="1539"/>
          <pc:sldLayoutMkLst>
            <pc:docMk/>
            <pc:sldMasterMk cId="408341288" sldId="2147483648"/>
            <pc:sldLayoutMk cId="3653027901" sldId="2147483672"/>
          </pc:sldLayoutMkLst>
          <pc:spChg chg="mod">
            <ac:chgData name="Tobias Brammer" userId="80a1e1bd-3b82-47a5-b259-da62a397db92" providerId="ADAL" clId="{CC804E0E-B381-4A8C-832B-11046074747A}" dt="2023-09-27T07:39:02.997" v="654" actId="948"/>
            <ac:spMkLst>
              <pc:docMk/>
              <pc:sldMasterMk cId="408341288" sldId="2147483648"/>
              <pc:sldLayoutMk cId="3653027901" sldId="2147483672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40" v="431" actId="790"/>
            <ac:spMkLst>
              <pc:docMk/>
              <pc:sldMasterMk cId="408341288" sldId="2147483648"/>
              <pc:sldLayoutMk cId="3653027901" sldId="2147483672"/>
              <ac:spMk id="3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15" v="1537"/>
            <ac:spMkLst>
              <pc:docMk/>
              <pc:sldMasterMk cId="408341288" sldId="2147483648"/>
              <pc:sldLayoutMk cId="3653027901" sldId="2147483672"/>
              <ac:spMk id="4" creationId="{234065AF-3F62-EAFE-1E77-692F1C7307F0}"/>
            </ac:spMkLst>
          </pc:spChg>
          <pc:spChg chg="mod">
            <ac:chgData name="Tobias Brammer" userId="80a1e1bd-3b82-47a5-b259-da62a397db92" providerId="ADAL" clId="{CC804E0E-B381-4A8C-832B-11046074747A}" dt="2023-09-27T07:39:01.740" v="432" actId="790"/>
            <ac:spMkLst>
              <pc:docMk/>
              <pc:sldMasterMk cId="408341288" sldId="2147483648"/>
              <pc:sldLayoutMk cId="3653027901" sldId="2147483672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40" v="429" actId="790"/>
            <ac:spMkLst>
              <pc:docMk/>
              <pc:sldMasterMk cId="408341288" sldId="2147483648"/>
              <pc:sldLayoutMk cId="3653027901" sldId="2147483672"/>
              <ac:spMk id="17" creationId="{939632FF-44ED-498C-B1FE-ACE44FE1E8EF}"/>
            </ac:spMkLst>
          </pc:spChg>
          <pc:spChg chg="mod">
            <ac:chgData name="Tobias Brammer" userId="80a1e1bd-3b82-47a5-b259-da62a397db92" providerId="ADAL" clId="{CC804E0E-B381-4A8C-832B-11046074747A}" dt="2023-09-27T07:39:01.756" v="434" actId="947"/>
            <ac:spMkLst>
              <pc:docMk/>
              <pc:sldMasterMk cId="408341288" sldId="2147483648"/>
              <pc:sldLayoutMk cId="3653027901" sldId="2147483672"/>
              <ac:spMk id="28" creationId="{297EFA8A-BAF3-4E00-ABAE-12A3938FAD52}"/>
            </ac:spMkLst>
          </pc:spChg>
          <pc:graphicFrameChg chg="mod">
            <ac:chgData name="Tobias Brammer" userId="80a1e1bd-3b82-47a5-b259-da62a397db92" providerId="ADAL" clId="{CC804E0E-B381-4A8C-832B-11046074747A}" dt="2023-09-27T07:39:03.615" v="1539"/>
            <ac:graphicFrameMkLst>
              <pc:docMk/>
              <pc:sldMasterMk cId="408341288" sldId="2147483648"/>
              <pc:sldLayoutMk cId="3653027901" sldId="2147483672"/>
              <ac:graphicFrameMk id="5" creationId="{9C8B7415-416B-7FE1-937C-81DC5F7AF7F8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15" v="1547"/>
          <pc:sldLayoutMkLst>
            <pc:docMk/>
            <pc:sldMasterMk cId="408341288" sldId="2147483648"/>
            <pc:sldLayoutMk cId="2903942727" sldId="2147483673"/>
          </pc:sldLayoutMkLst>
          <pc:spChg chg="mod">
            <ac:chgData name="Tobias Brammer" userId="80a1e1bd-3b82-47a5-b259-da62a397db92" providerId="ADAL" clId="{CC804E0E-B381-4A8C-832B-11046074747A}" dt="2023-09-27T07:39:03.044" v="730" actId="948"/>
            <ac:spMkLst>
              <pc:docMk/>
              <pc:sldMasterMk cId="408341288" sldId="2147483648"/>
              <pc:sldLayoutMk cId="2903942727" sldId="214748367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94" v="444" actId="790"/>
            <ac:spMkLst>
              <pc:docMk/>
              <pc:sldMasterMk cId="408341288" sldId="2147483648"/>
              <pc:sldLayoutMk cId="2903942727" sldId="2147483673"/>
              <ac:spMk id="3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15" v="1545"/>
            <ac:spMkLst>
              <pc:docMk/>
              <pc:sldMasterMk cId="408341288" sldId="2147483648"/>
              <pc:sldLayoutMk cId="2903942727" sldId="2147483673"/>
              <ac:spMk id="4" creationId="{882A3B1A-60BA-1B6F-FDB4-72AC6E71E004}"/>
            </ac:spMkLst>
          </pc:spChg>
          <pc:spChg chg="mod">
            <ac:chgData name="Tobias Brammer" userId="80a1e1bd-3b82-47a5-b259-da62a397db92" providerId="ADAL" clId="{CC804E0E-B381-4A8C-832B-11046074747A}" dt="2023-09-27T07:39:01.794" v="447" actId="790"/>
            <ac:spMkLst>
              <pc:docMk/>
              <pc:sldMasterMk cId="408341288" sldId="2147483648"/>
              <pc:sldLayoutMk cId="2903942727" sldId="214748367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787" v="442" actId="790"/>
            <ac:spMkLst>
              <pc:docMk/>
              <pc:sldMasterMk cId="408341288" sldId="2147483648"/>
              <pc:sldLayoutMk cId="2903942727" sldId="214748367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CC804E0E-B381-4A8C-832B-11046074747A}" dt="2023-09-27T07:39:01.794" v="448" actId="790"/>
            <ac:spMkLst>
              <pc:docMk/>
              <pc:sldMasterMk cId="408341288" sldId="2147483648"/>
              <pc:sldLayoutMk cId="2903942727" sldId="2147483673"/>
              <ac:spMk id="11" creationId="{64FB9D14-6354-4776-99DE-6F2AC7FCCC10}"/>
            </ac:spMkLst>
          </pc:spChg>
          <pc:spChg chg="mod">
            <ac:chgData name="Tobias Brammer" userId="80a1e1bd-3b82-47a5-b259-da62a397db92" providerId="ADAL" clId="{CC804E0E-B381-4A8C-832B-11046074747A}" dt="2023-09-27T07:39:01.794" v="446" actId="947"/>
            <ac:spMkLst>
              <pc:docMk/>
              <pc:sldMasterMk cId="408341288" sldId="2147483648"/>
              <pc:sldLayoutMk cId="2903942727" sldId="2147483673"/>
              <ac:spMk id="15" creationId="{D3B39772-6EF8-414F-B8CA-9572DA8DE679}"/>
            </ac:spMkLst>
          </pc:spChg>
          <pc:graphicFrameChg chg="mod">
            <ac:chgData name="Tobias Brammer" userId="80a1e1bd-3b82-47a5-b259-da62a397db92" providerId="ADAL" clId="{CC804E0E-B381-4A8C-832B-11046074747A}" dt="2023-09-27T07:39:03.615" v="1547"/>
            <ac:graphicFrameMkLst>
              <pc:docMk/>
              <pc:sldMasterMk cId="408341288" sldId="2147483648"/>
              <pc:sldLayoutMk cId="2903942727" sldId="2147483673"/>
              <ac:graphicFrameMk id="5" creationId="{13B33204-4D07-26B3-C91D-431E834A3215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30" v="1551"/>
          <pc:sldLayoutMkLst>
            <pc:docMk/>
            <pc:sldMasterMk cId="408341288" sldId="2147483648"/>
            <pc:sldLayoutMk cId="3777408618" sldId="2147483675"/>
          </pc:sldLayoutMkLst>
          <pc:spChg chg="mod">
            <ac:chgData name="Tobias Brammer" userId="80a1e1bd-3b82-47a5-b259-da62a397db92" providerId="ADAL" clId="{CC804E0E-B381-4A8C-832B-11046074747A}" dt="2023-09-27T07:39:03.075" v="768" actId="948"/>
            <ac:spMkLst>
              <pc:docMk/>
              <pc:sldMasterMk cId="408341288" sldId="2147483648"/>
              <pc:sldLayoutMk cId="3777408618" sldId="2147483675"/>
              <ac:spMk id="2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49"/>
            <ac:spMkLst>
              <pc:docMk/>
              <pc:sldMasterMk cId="408341288" sldId="2147483648"/>
              <pc:sldLayoutMk cId="3777408618" sldId="2147483675"/>
              <ac:spMk id="3" creationId="{0E67B661-9DD7-AF6F-908F-4744B4CED2EB}"/>
            </ac:spMkLst>
          </pc:spChg>
          <pc:spChg chg="mod">
            <ac:chgData name="Tobias Brammer" userId="80a1e1bd-3b82-47a5-b259-da62a397db92" providerId="ADAL" clId="{CC804E0E-B381-4A8C-832B-11046074747A}" dt="2023-09-27T07:39:01.810" v="450" actId="790"/>
            <ac:spMkLst>
              <pc:docMk/>
              <pc:sldMasterMk cId="408341288" sldId="2147483648"/>
              <pc:sldLayoutMk cId="3777408618" sldId="2147483675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810" v="449" actId="790"/>
            <ac:spMkLst>
              <pc:docMk/>
              <pc:sldMasterMk cId="408341288" sldId="2147483648"/>
              <pc:sldLayoutMk cId="3777408618" sldId="2147483675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CC804E0E-B381-4A8C-832B-11046074747A}" dt="2023-09-27T07:39:01.825" v="454" actId="790"/>
            <ac:spMkLst>
              <pc:docMk/>
              <pc:sldMasterMk cId="408341288" sldId="2147483648"/>
              <pc:sldLayoutMk cId="3777408618" sldId="2147483675"/>
              <ac:spMk id="10" creationId="{4E5F478B-2AF2-4DD2-BB59-38960637209E}"/>
            </ac:spMkLst>
          </pc:spChg>
          <pc:spChg chg="mod">
            <ac:chgData name="Tobias Brammer" userId="80a1e1bd-3b82-47a5-b259-da62a397db92" providerId="ADAL" clId="{CC804E0E-B381-4A8C-832B-11046074747A}" dt="2023-09-27T07:39:01.825" v="452" actId="947"/>
            <ac:spMkLst>
              <pc:docMk/>
              <pc:sldMasterMk cId="408341288" sldId="2147483648"/>
              <pc:sldLayoutMk cId="3777408618" sldId="2147483675"/>
              <ac:spMk id="12" creationId="{3E26791D-912A-4A89-B575-16A619848A0E}"/>
            </ac:spMkLst>
          </pc:spChg>
          <pc:graphicFrameChg chg="mod">
            <ac:chgData name="Tobias Brammer" userId="80a1e1bd-3b82-47a5-b259-da62a397db92" providerId="ADAL" clId="{CC804E0E-B381-4A8C-832B-11046074747A}" dt="2023-09-27T07:39:03.630" v="1551"/>
            <ac:graphicFrameMkLst>
              <pc:docMk/>
              <pc:sldMasterMk cId="408341288" sldId="2147483648"/>
              <pc:sldLayoutMk cId="3777408618" sldId="2147483675"/>
              <ac:graphicFrameMk id="4" creationId="{EE13597B-E899-28DA-2685-B261BE4EC78C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30" v="1555"/>
          <pc:sldLayoutMkLst>
            <pc:docMk/>
            <pc:sldMasterMk cId="408341288" sldId="2147483648"/>
            <pc:sldLayoutMk cId="803479191" sldId="2147483676"/>
          </pc:sldLayoutMkLst>
          <pc:spChg chg="mod">
            <ac:chgData name="Tobias Brammer" userId="80a1e1bd-3b82-47a5-b259-da62a397db92" providerId="ADAL" clId="{CC804E0E-B381-4A8C-832B-11046074747A}" dt="2023-09-27T07:39:03.098" v="806" actId="948"/>
            <ac:spMkLst>
              <pc:docMk/>
              <pc:sldMasterMk cId="408341288" sldId="2147483648"/>
              <pc:sldLayoutMk cId="803479191" sldId="2147483676"/>
              <ac:spMk id="2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53"/>
            <ac:spMkLst>
              <pc:docMk/>
              <pc:sldMasterMk cId="408341288" sldId="2147483648"/>
              <pc:sldLayoutMk cId="803479191" sldId="2147483676"/>
              <ac:spMk id="3" creationId="{BE736F95-95A5-BBC2-8D18-F0C5DA04E9B2}"/>
            </ac:spMkLst>
          </pc:spChg>
          <pc:spChg chg="mod">
            <ac:chgData name="Tobias Brammer" userId="80a1e1bd-3b82-47a5-b259-da62a397db92" providerId="ADAL" clId="{CC804E0E-B381-4A8C-832B-11046074747A}" dt="2023-09-27T07:39:01.841" v="456" actId="790"/>
            <ac:spMkLst>
              <pc:docMk/>
              <pc:sldMasterMk cId="408341288" sldId="2147483648"/>
              <pc:sldLayoutMk cId="803479191" sldId="2147483676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857" v="461" actId="790"/>
            <ac:spMkLst>
              <pc:docMk/>
              <pc:sldMasterMk cId="408341288" sldId="2147483648"/>
              <pc:sldLayoutMk cId="803479191" sldId="2147483676"/>
              <ac:spMk id="12" creationId="{7D216729-A8D1-4335-BE16-89F4384AC488}"/>
            </ac:spMkLst>
          </pc:spChg>
          <pc:spChg chg="mod">
            <ac:chgData name="Tobias Brammer" userId="80a1e1bd-3b82-47a5-b259-da62a397db92" providerId="ADAL" clId="{CC804E0E-B381-4A8C-832B-11046074747A}" dt="2023-09-27T07:39:01.841" v="458" actId="947"/>
            <ac:spMkLst>
              <pc:docMk/>
              <pc:sldMasterMk cId="408341288" sldId="2147483648"/>
              <pc:sldLayoutMk cId="803479191" sldId="2147483676"/>
              <ac:spMk id="32" creationId="{A3BB2A3B-E5DD-409B-948F-9E8E9C0DE4C3}"/>
            </ac:spMkLst>
          </pc:spChg>
          <pc:spChg chg="mod">
            <ac:chgData name="Tobias Brammer" userId="80a1e1bd-3b82-47a5-b259-da62a397db92" providerId="ADAL" clId="{CC804E0E-B381-4A8C-832B-11046074747A}" dt="2023-09-27T07:39:01.857" v="460" actId="947"/>
            <ac:spMkLst>
              <pc:docMk/>
              <pc:sldMasterMk cId="408341288" sldId="2147483648"/>
              <pc:sldLayoutMk cId="803479191" sldId="2147483676"/>
              <ac:spMk id="34" creationId="{D8329A9B-7465-4D18-8C10-A6F4DC3954EC}"/>
            </ac:spMkLst>
          </pc:spChg>
          <pc:graphicFrameChg chg="mod">
            <ac:chgData name="Tobias Brammer" userId="80a1e1bd-3b82-47a5-b259-da62a397db92" providerId="ADAL" clId="{CC804E0E-B381-4A8C-832B-11046074747A}" dt="2023-09-27T07:39:03.630" v="1555"/>
            <ac:graphicFrameMkLst>
              <pc:docMk/>
              <pc:sldMasterMk cId="408341288" sldId="2147483648"/>
              <pc:sldLayoutMk cId="803479191" sldId="2147483676"/>
              <ac:graphicFrameMk id="4" creationId="{E19A314B-22AD-EFCE-EA25-5C90DBDE93F0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30" v="1563"/>
          <pc:sldLayoutMkLst>
            <pc:docMk/>
            <pc:sldMasterMk cId="408341288" sldId="2147483648"/>
            <pc:sldLayoutMk cId="1348899113" sldId="2147483677"/>
          </pc:sldLayoutMkLst>
          <pc:spChg chg="mod">
            <ac:chgData name="Tobias Brammer" userId="80a1e1bd-3b82-47a5-b259-da62a397db92" providerId="ADAL" clId="{CC804E0E-B381-4A8C-832B-11046074747A}" dt="2023-09-27T07:39:03.160" v="882" actId="948"/>
            <ac:spMkLst>
              <pc:docMk/>
              <pc:sldMasterMk cId="408341288" sldId="2147483648"/>
              <pc:sldLayoutMk cId="1348899113" sldId="2147483677"/>
              <ac:spMk id="2" creationId="{00000000-0000-0000-0000-000000000000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61"/>
            <ac:spMkLst>
              <pc:docMk/>
              <pc:sldMasterMk cId="408341288" sldId="2147483648"/>
              <pc:sldLayoutMk cId="1348899113" sldId="2147483677"/>
              <ac:spMk id="3" creationId="{035C6AB7-55B1-6469-DD1D-FA2D1BC80EFA}"/>
            </ac:spMkLst>
          </pc:spChg>
          <pc:spChg chg="mod">
            <ac:chgData name="Tobias Brammer" userId="80a1e1bd-3b82-47a5-b259-da62a397db92" providerId="ADAL" clId="{CC804E0E-B381-4A8C-832B-11046074747A}" dt="2023-09-27T07:39:01.894" v="469" actId="790"/>
            <ac:spMkLst>
              <pc:docMk/>
              <pc:sldMasterMk cId="408341288" sldId="2147483648"/>
              <pc:sldLayoutMk cId="1348899113" sldId="2147483677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CC804E0E-B381-4A8C-832B-11046074747A}" dt="2023-09-27T07:39:01.894" v="471" actId="947"/>
            <ac:spMkLst>
              <pc:docMk/>
              <pc:sldMasterMk cId="408341288" sldId="2147483648"/>
              <pc:sldLayoutMk cId="1348899113" sldId="2147483677"/>
              <ac:spMk id="10" creationId="{CDB01046-B639-4C51-B121-93BF127467C5}"/>
            </ac:spMkLst>
          </pc:spChg>
          <pc:spChg chg="mod">
            <ac:chgData name="Tobias Brammer" userId="80a1e1bd-3b82-47a5-b259-da62a397db92" providerId="ADAL" clId="{CC804E0E-B381-4A8C-832B-11046074747A}" dt="2023-09-27T07:39:01.894" v="473" actId="947"/>
            <ac:spMkLst>
              <pc:docMk/>
              <pc:sldMasterMk cId="408341288" sldId="2147483648"/>
              <pc:sldLayoutMk cId="1348899113" sldId="2147483677"/>
              <ac:spMk id="12" creationId="{0941A88B-2C47-4D26-B718-CF388930B536}"/>
            </ac:spMkLst>
          </pc:spChg>
          <pc:spChg chg="mod">
            <ac:chgData name="Tobias Brammer" userId="80a1e1bd-3b82-47a5-b259-da62a397db92" providerId="ADAL" clId="{CC804E0E-B381-4A8C-832B-11046074747A}" dt="2023-09-27T07:39:01.910" v="475" actId="790"/>
            <ac:spMkLst>
              <pc:docMk/>
              <pc:sldMasterMk cId="408341288" sldId="2147483648"/>
              <pc:sldLayoutMk cId="1348899113" sldId="2147483677"/>
              <ac:spMk id="16" creationId="{5C039EB7-1A5B-4652-B373-381F14A78A78}"/>
            </ac:spMkLst>
          </pc:spChg>
          <pc:spChg chg="mod">
            <ac:chgData name="Tobias Brammer" userId="80a1e1bd-3b82-47a5-b259-da62a397db92" providerId="ADAL" clId="{CC804E0E-B381-4A8C-832B-11046074747A}" dt="2023-09-27T07:39:01.894" v="474" actId="790"/>
            <ac:spMkLst>
              <pc:docMk/>
              <pc:sldMasterMk cId="408341288" sldId="2147483648"/>
              <pc:sldLayoutMk cId="1348899113" sldId="2147483677"/>
              <ac:spMk id="17" creationId="{0496EE00-B7B1-4FBC-AE5D-1ED4C224E899}"/>
            </ac:spMkLst>
          </pc:spChg>
          <pc:graphicFrameChg chg="mod">
            <ac:chgData name="Tobias Brammer" userId="80a1e1bd-3b82-47a5-b259-da62a397db92" providerId="ADAL" clId="{CC804E0E-B381-4A8C-832B-11046074747A}" dt="2023-09-27T07:39:03.630" v="1563"/>
            <ac:graphicFrameMkLst>
              <pc:docMk/>
              <pc:sldMasterMk cId="408341288" sldId="2147483648"/>
              <pc:sldLayoutMk cId="1348899113" sldId="2147483677"/>
              <ac:graphicFrameMk id="4" creationId="{C8E3A7EA-62A4-417F-AC41-59F565D68C59}"/>
            </ac:graphicFrameMkLst>
          </pc:graphicFrameChg>
        </pc:sldLayoutChg>
        <pc:sldLayoutChg chg="modSp mod">
          <pc:chgData name="Tobias Brammer" userId="80a1e1bd-3b82-47a5-b259-da62a397db92" providerId="ADAL" clId="{CC804E0E-B381-4A8C-832B-11046074747A}" dt="2023-09-27T07:39:03.672" v="1609"/>
          <pc:sldLayoutMkLst>
            <pc:docMk/>
            <pc:sldMasterMk cId="408341288" sldId="2147483648"/>
            <pc:sldLayoutMk cId="1421122532" sldId="2147483678"/>
          </pc:sldLayoutMkLst>
          <pc:spChg chg="mod">
            <ac:chgData name="Tobias Brammer" userId="80a1e1bd-3b82-47a5-b259-da62a397db92" providerId="ADAL" clId="{CC804E0E-B381-4A8C-832B-11046074747A}" dt="2023-09-27T07:39:02.195" v="543" actId="790"/>
            <ac:spMkLst>
              <pc:docMk/>
              <pc:sldMasterMk cId="408341288" sldId="2147483648"/>
              <pc:sldLayoutMk cId="1421122532" sldId="2147483678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2.195" v="541" actId="790"/>
            <ac:spMkLst>
              <pc:docMk/>
              <pc:sldMasterMk cId="408341288" sldId="2147483648"/>
              <pc:sldLayoutMk cId="1421122532" sldId="2147483678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CC804E0E-B381-4A8C-832B-11046074747A}" dt="2023-09-27T07:39:02.227" v="549" actId="790"/>
            <ac:spMkLst>
              <pc:docMk/>
              <pc:sldMasterMk cId="408341288" sldId="2147483648"/>
              <pc:sldLayoutMk cId="1421122532" sldId="2147483678"/>
              <ac:spMk id="12" creationId="{FBAD2409-8FA6-44A8-980A-AC5EF1EDB95E}"/>
            </ac:spMkLst>
          </pc:spChg>
          <pc:spChg chg="mod">
            <ac:chgData name="Tobias Brammer" userId="80a1e1bd-3b82-47a5-b259-da62a397db92" providerId="ADAL" clId="{CC804E0E-B381-4A8C-832B-11046074747A}" dt="2023-09-27T07:39:02.195" v="544" actId="790"/>
            <ac:spMkLst>
              <pc:docMk/>
              <pc:sldMasterMk cId="408341288" sldId="2147483648"/>
              <pc:sldLayoutMk cId="1421122532" sldId="2147483678"/>
              <ac:spMk id="28" creationId="{B631F2FF-4D98-41D0-99C3-F0535BA34965}"/>
            </ac:spMkLst>
          </pc:spChg>
          <pc:spChg chg="mod">
            <ac:chgData name="Tobias Brammer" userId="80a1e1bd-3b82-47a5-b259-da62a397db92" providerId="ADAL" clId="{CC804E0E-B381-4A8C-832B-11046074747A}" dt="2023-09-27T07:39:02.211" v="545" actId="790"/>
            <ac:spMkLst>
              <pc:docMk/>
              <pc:sldMasterMk cId="408341288" sldId="2147483648"/>
              <pc:sldLayoutMk cId="1421122532" sldId="2147483678"/>
              <ac:spMk id="29" creationId="{7D86C3A8-CC69-48DD-A8AB-DA43FCA85FF9}"/>
            </ac:spMkLst>
          </pc:spChg>
          <pc:spChg chg="mod">
            <ac:chgData name="Tobias Brammer" userId="80a1e1bd-3b82-47a5-b259-da62a397db92" providerId="ADAL" clId="{CC804E0E-B381-4A8C-832B-11046074747A}" dt="2023-09-27T07:39:02.211" v="546" actId="790"/>
            <ac:spMkLst>
              <pc:docMk/>
              <pc:sldMasterMk cId="408341288" sldId="2147483648"/>
              <pc:sldLayoutMk cId="1421122532" sldId="2147483678"/>
              <ac:spMk id="30" creationId="{AF9B4576-96C2-4288-8D1B-684C7112FCDF}"/>
            </ac:spMkLst>
          </pc:spChg>
          <pc:spChg chg="mod">
            <ac:chgData name="Tobias Brammer" userId="80a1e1bd-3b82-47a5-b259-da62a397db92" providerId="ADAL" clId="{CC804E0E-B381-4A8C-832B-11046074747A}" dt="2023-09-27T07:39:02.227" v="548" actId="947"/>
            <ac:spMkLst>
              <pc:docMk/>
              <pc:sldMasterMk cId="408341288" sldId="2147483648"/>
              <pc:sldLayoutMk cId="1421122532" sldId="2147483678"/>
              <ac:spMk id="33" creationId="{3F8274B9-A14B-4EF8-8547-543E8342075F}"/>
            </ac:spMkLst>
          </pc:spChg>
          <pc:spChg chg="mod">
            <ac:chgData name="Tobias Brammer" userId="80a1e1bd-3b82-47a5-b259-da62a397db92" providerId="ADAL" clId="{CC804E0E-B381-4A8C-832B-11046074747A}" dt="2023-09-27T07:39:02.195" v="542" actId="790"/>
            <ac:spMkLst>
              <pc:docMk/>
              <pc:sldMasterMk cId="408341288" sldId="2147483648"/>
              <pc:sldLayoutMk cId="1421122532" sldId="2147483678"/>
              <ac:spMk id="36" creationId="{E965B3AD-EE9F-4A21-8AAE-0CF487A6FB7B}"/>
            </ac:spMkLst>
          </pc:spChg>
          <pc:graphicFrameChg chg="mod">
            <ac:chgData name="Tobias Brammer" userId="80a1e1bd-3b82-47a5-b259-da62a397db92" providerId="ADAL" clId="{CC804E0E-B381-4A8C-832B-11046074747A}" dt="2023-09-27T07:39:03.672" v="1609"/>
            <ac:graphicFrameMkLst>
              <pc:docMk/>
              <pc:sldMasterMk cId="408341288" sldId="2147483648"/>
              <pc:sldLayoutMk cId="1421122532" sldId="2147483678"/>
              <ac:graphicFrameMk id="2" creationId="{AF0513D3-A647-9A26-7977-459430610D1B}"/>
            </ac:graphicFrameMkLst>
          </pc:graphicFrameChg>
        </pc:sldLayoutChg>
        <pc:sldLayoutChg chg="modSp mod">
          <pc:chgData name="Tobias Brammer" userId="80a1e1bd-3b82-47a5-b259-da62a397db92" providerId="ADAL" clId="{CC804E0E-B381-4A8C-832B-11046074747A}" dt="2023-09-27T07:39:03.672" v="1611"/>
          <pc:sldLayoutMkLst>
            <pc:docMk/>
            <pc:sldMasterMk cId="408341288" sldId="2147483648"/>
            <pc:sldLayoutMk cId="1013684879" sldId="2147483679"/>
          </pc:sldLayoutMkLst>
          <pc:spChg chg="mod">
            <ac:chgData name="Tobias Brammer" userId="80a1e1bd-3b82-47a5-b259-da62a397db92" providerId="ADAL" clId="{CC804E0E-B381-4A8C-832B-11046074747A}" dt="2023-09-27T07:39:02.242" v="553" actId="790"/>
            <ac:spMkLst>
              <pc:docMk/>
              <pc:sldMasterMk cId="408341288" sldId="2147483648"/>
              <pc:sldLayoutMk cId="1013684879" sldId="2147483679"/>
              <ac:spMk id="7" creationId="{FA5094E7-11C9-418B-BA06-9C3719BEDDDA}"/>
            </ac:spMkLst>
          </pc:spChg>
          <pc:spChg chg="mod">
            <ac:chgData name="Tobias Brammer" userId="80a1e1bd-3b82-47a5-b259-da62a397db92" providerId="ADAL" clId="{CC804E0E-B381-4A8C-832B-11046074747A}" dt="2023-09-27T07:39:02.242" v="554" actId="790"/>
            <ac:spMkLst>
              <pc:docMk/>
              <pc:sldMasterMk cId="408341288" sldId="2147483648"/>
              <pc:sldLayoutMk cId="1013684879" sldId="2147483679"/>
              <ac:spMk id="9" creationId="{7903A596-7BB0-412B-B416-763BFCF93DA7}"/>
            </ac:spMkLst>
          </pc:spChg>
          <pc:spChg chg="mod">
            <ac:chgData name="Tobias Brammer" userId="80a1e1bd-3b82-47a5-b259-da62a397db92" providerId="ADAL" clId="{CC804E0E-B381-4A8C-832B-11046074747A}" dt="2023-09-27T07:39:02.227" v="550" actId="790"/>
            <ac:spMkLst>
              <pc:docMk/>
              <pc:sldMasterMk cId="408341288" sldId="2147483648"/>
              <pc:sldLayoutMk cId="1013684879" sldId="2147483679"/>
              <ac:spMk id="10" creationId="{EC54937F-5C47-47DE-BBED-0C6D35450F6A}"/>
            </ac:spMkLst>
          </pc:spChg>
          <pc:spChg chg="mod">
            <ac:chgData name="Tobias Brammer" userId="80a1e1bd-3b82-47a5-b259-da62a397db92" providerId="ADAL" clId="{CC804E0E-B381-4A8C-832B-11046074747A}" dt="2023-09-27T07:39:02.227" v="551" actId="790"/>
            <ac:spMkLst>
              <pc:docMk/>
              <pc:sldMasterMk cId="408341288" sldId="2147483648"/>
              <pc:sldLayoutMk cId="1013684879" sldId="2147483679"/>
              <ac:spMk id="11" creationId="{4214CA9E-C795-4866-9FF0-38C28911BB9D}"/>
            </ac:spMkLst>
          </pc:spChg>
          <pc:spChg chg="mod">
            <ac:chgData name="Tobias Brammer" userId="80a1e1bd-3b82-47a5-b259-da62a397db92" providerId="ADAL" clId="{CC804E0E-B381-4A8C-832B-11046074747A}" dt="2023-09-27T07:39:02.242" v="552" actId="790"/>
            <ac:spMkLst>
              <pc:docMk/>
              <pc:sldMasterMk cId="408341288" sldId="2147483648"/>
              <pc:sldLayoutMk cId="1013684879" sldId="2147483679"/>
              <ac:spMk id="12" creationId="{C971CBE6-8195-46E1-AEA2-BD555ECCC0A9}"/>
            </ac:spMkLst>
          </pc:spChg>
          <pc:graphicFrameChg chg="mod">
            <ac:chgData name="Tobias Brammer" userId="80a1e1bd-3b82-47a5-b259-da62a397db92" providerId="ADAL" clId="{CC804E0E-B381-4A8C-832B-11046074747A}" dt="2023-09-27T07:39:03.672" v="1611"/>
            <ac:graphicFrameMkLst>
              <pc:docMk/>
              <pc:sldMasterMk cId="408341288" sldId="2147483648"/>
              <pc:sldLayoutMk cId="1013684879" sldId="2147483679"/>
              <ac:graphicFrameMk id="2" creationId="{EC12F142-4E09-486C-70DF-B4359EB7A1E0}"/>
            </ac:graphicFrameMkLst>
          </pc:graphicFrameChg>
        </pc:sldLayoutChg>
        <pc:sldLayoutChg chg="modSp mod">
          <pc:chgData name="Tobias Brammer" userId="80a1e1bd-3b82-47a5-b259-da62a397db92" providerId="ADAL" clId="{CC804E0E-B381-4A8C-832B-11046074747A}" dt="2023-09-27T07:39:03.687" v="1617"/>
          <pc:sldLayoutMkLst>
            <pc:docMk/>
            <pc:sldMasterMk cId="408341288" sldId="2147483648"/>
            <pc:sldLayoutMk cId="3945193607" sldId="2147483680"/>
          </pc:sldLayoutMkLst>
          <pc:spChg chg="mod">
            <ac:chgData name="Tobias Brammer" userId="80a1e1bd-3b82-47a5-b259-da62a397db92" providerId="ADAL" clId="{CC804E0E-B381-4A8C-832B-11046074747A}" dt="2023-09-27T07:39:02.273" v="569" actId="790"/>
            <ac:spMkLst>
              <pc:docMk/>
              <pc:sldMasterMk cId="408341288" sldId="2147483648"/>
              <pc:sldLayoutMk cId="3945193607" sldId="2147483680"/>
              <ac:spMk id="4" creationId="{87C095F8-A024-4A35-99AE-5042B63313B1}"/>
            </ac:spMkLst>
          </pc:spChg>
          <pc:spChg chg="mod">
            <ac:chgData name="Tobias Brammer" userId="80a1e1bd-3b82-47a5-b259-da62a397db92" providerId="ADAL" clId="{CC804E0E-B381-4A8C-832B-11046074747A}" dt="2023-09-27T07:39:02.258" v="557" actId="790"/>
            <ac:spMkLst>
              <pc:docMk/>
              <pc:sldMasterMk cId="408341288" sldId="2147483648"/>
              <pc:sldLayoutMk cId="3945193607" sldId="2147483680"/>
              <ac:spMk id="10" creationId="{B1EB893E-E72C-4865-BCEB-316B4E1923B0}"/>
            </ac:spMkLst>
          </pc:spChg>
          <pc:spChg chg="mod">
            <ac:chgData name="Tobias Brammer" userId="80a1e1bd-3b82-47a5-b259-da62a397db92" providerId="ADAL" clId="{CC804E0E-B381-4A8C-832B-11046074747A}" dt="2023-09-27T07:39:02.258" v="559" actId="947"/>
            <ac:spMkLst>
              <pc:docMk/>
              <pc:sldMasterMk cId="408341288" sldId="2147483648"/>
              <pc:sldLayoutMk cId="3945193607" sldId="2147483680"/>
              <ac:spMk id="15" creationId="{0361AE4B-7609-4632-9401-0DC42BA537BD}"/>
            </ac:spMkLst>
          </pc:spChg>
          <pc:spChg chg="mod">
            <ac:chgData name="Tobias Brammer" userId="80a1e1bd-3b82-47a5-b259-da62a397db92" providerId="ADAL" clId="{CC804E0E-B381-4A8C-832B-11046074747A}" dt="2023-09-27T07:39:02.258" v="561" actId="947"/>
            <ac:spMkLst>
              <pc:docMk/>
              <pc:sldMasterMk cId="408341288" sldId="2147483648"/>
              <pc:sldLayoutMk cId="3945193607" sldId="2147483680"/>
              <ac:spMk id="16" creationId="{37E301B3-E7D6-40A4-963F-25C6883E5A50}"/>
            </ac:spMkLst>
          </pc:spChg>
          <pc:spChg chg="mod">
            <ac:chgData name="Tobias Brammer" userId="80a1e1bd-3b82-47a5-b259-da62a397db92" providerId="ADAL" clId="{CC804E0E-B381-4A8C-832B-11046074747A}" dt="2023-09-27T07:39:02.273" v="568" actId="790"/>
            <ac:spMkLst>
              <pc:docMk/>
              <pc:sldMasterMk cId="408341288" sldId="2147483648"/>
              <pc:sldLayoutMk cId="3945193607" sldId="2147483680"/>
              <ac:spMk id="17" creationId="{11958930-3179-4A2E-8155-875EC59FE57F}"/>
            </ac:spMkLst>
          </pc:spChg>
          <pc:spChg chg="mod">
            <ac:chgData name="Tobias Brammer" userId="80a1e1bd-3b82-47a5-b259-da62a397db92" providerId="ADAL" clId="{CC804E0E-B381-4A8C-832B-11046074747A}" dt="2023-09-27T07:39:02.258" v="563" actId="947"/>
            <ac:spMkLst>
              <pc:docMk/>
              <pc:sldMasterMk cId="408341288" sldId="2147483648"/>
              <pc:sldLayoutMk cId="3945193607" sldId="2147483680"/>
              <ac:spMk id="20" creationId="{E1A26097-CD01-4F99-BE32-FB4F5B7EEBCC}"/>
            </ac:spMkLst>
          </pc:spChg>
          <pc:spChg chg="mod">
            <ac:chgData name="Tobias Brammer" userId="80a1e1bd-3b82-47a5-b259-da62a397db92" providerId="ADAL" clId="{CC804E0E-B381-4A8C-832B-11046074747A}" dt="2023-09-27T07:39:02.258" v="565" actId="947"/>
            <ac:spMkLst>
              <pc:docMk/>
              <pc:sldMasterMk cId="408341288" sldId="2147483648"/>
              <pc:sldLayoutMk cId="3945193607" sldId="2147483680"/>
              <ac:spMk id="21" creationId="{5A838974-69ED-4C19-A90E-05DBD42D201D}"/>
            </ac:spMkLst>
          </pc:spChg>
          <pc:spChg chg="mod">
            <ac:chgData name="Tobias Brammer" userId="80a1e1bd-3b82-47a5-b259-da62a397db92" providerId="ADAL" clId="{CC804E0E-B381-4A8C-832B-11046074747A}" dt="2023-09-27T07:39:02.258" v="566" actId="790"/>
            <ac:spMkLst>
              <pc:docMk/>
              <pc:sldMasterMk cId="408341288" sldId="2147483648"/>
              <pc:sldLayoutMk cId="3945193607" sldId="2147483680"/>
              <ac:spMk id="22" creationId="{A956F20C-AA17-48A2-83B5-1B535A976945}"/>
            </ac:spMkLst>
          </pc:spChg>
          <pc:spChg chg="mod">
            <ac:chgData name="Tobias Brammer" userId="80a1e1bd-3b82-47a5-b259-da62a397db92" providerId="ADAL" clId="{CC804E0E-B381-4A8C-832B-11046074747A}" dt="2023-09-27T07:39:02.273" v="567" actId="790"/>
            <ac:spMkLst>
              <pc:docMk/>
              <pc:sldMasterMk cId="408341288" sldId="2147483648"/>
              <pc:sldLayoutMk cId="3945193607" sldId="2147483680"/>
              <ac:spMk id="37" creationId="{DBA9BEEB-9A9C-4E0D-B111-7218E5CD52D1}"/>
            </ac:spMkLst>
          </pc:spChg>
          <pc:graphicFrameChg chg="mod">
            <ac:chgData name="Tobias Brammer" userId="80a1e1bd-3b82-47a5-b259-da62a397db92" providerId="ADAL" clId="{CC804E0E-B381-4A8C-832B-11046074747A}" dt="2023-09-27T07:39:03.687" v="1617"/>
            <ac:graphicFrameMkLst>
              <pc:docMk/>
              <pc:sldMasterMk cId="408341288" sldId="2147483648"/>
              <pc:sldLayoutMk cId="3945193607" sldId="2147483680"/>
              <ac:graphicFrameMk id="2" creationId="{B2B34963-242D-90C7-1E7A-AB958EBC24B4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46" v="1575"/>
          <pc:sldLayoutMkLst>
            <pc:docMk/>
            <pc:sldMasterMk cId="408341288" sldId="2147483648"/>
            <pc:sldLayoutMk cId="547289489" sldId="2147483681"/>
          </pc:sldLayoutMkLst>
          <pc:spChg chg="mod">
            <ac:chgData name="Tobias Brammer" userId="80a1e1bd-3b82-47a5-b259-da62a397db92" providerId="ADAL" clId="{CC804E0E-B381-4A8C-832B-11046074747A}" dt="2023-09-27T07:39:03.230" v="996" actId="948"/>
            <ac:spMkLst>
              <pc:docMk/>
              <pc:sldMasterMk cId="408341288" sldId="2147483648"/>
              <pc:sldLayoutMk cId="547289489" sldId="2147483681"/>
              <ac:spMk id="2" creationId="{A45B6DFC-9623-4183-8403-5AF3E92605AA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46" v="1573"/>
            <ac:spMkLst>
              <pc:docMk/>
              <pc:sldMasterMk cId="408341288" sldId="2147483648"/>
              <pc:sldLayoutMk cId="547289489" sldId="2147483681"/>
              <ac:spMk id="3" creationId="{D9AF1973-F61D-0210-1EBB-F272CCF51281}"/>
            </ac:spMkLst>
          </pc:spChg>
          <pc:spChg chg="mod">
            <ac:chgData name="Tobias Brammer" userId="80a1e1bd-3b82-47a5-b259-da62a397db92" providerId="ADAL" clId="{CC804E0E-B381-4A8C-832B-11046074747A}" dt="2023-09-27T07:39:01.941" v="484" actId="790"/>
            <ac:spMkLst>
              <pc:docMk/>
              <pc:sldMasterMk cId="408341288" sldId="2147483648"/>
              <pc:sldLayoutMk cId="547289489" sldId="2147483681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CC804E0E-B381-4A8C-832B-11046074747A}" dt="2023-09-27T07:39:01.941" v="482" actId="790"/>
            <ac:spMkLst>
              <pc:docMk/>
              <pc:sldMasterMk cId="408341288" sldId="2147483648"/>
              <pc:sldLayoutMk cId="547289489" sldId="2147483681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CC804E0E-B381-4A8C-832B-11046074747A}" dt="2023-09-27T07:39:01.941" v="485" actId="790"/>
            <ac:spMkLst>
              <pc:docMk/>
              <pc:sldMasterMk cId="408341288" sldId="2147483648"/>
              <pc:sldLayoutMk cId="547289489" sldId="2147483681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CC804E0E-B381-4A8C-832B-11046074747A}" dt="2023-09-27T07:39:01.956" v="487" actId="947"/>
            <ac:spMkLst>
              <pc:docMk/>
              <pc:sldMasterMk cId="408341288" sldId="2147483648"/>
              <pc:sldLayoutMk cId="547289489" sldId="2147483681"/>
              <ac:spMk id="13" creationId="{C967A86E-1E38-460F-9723-9D24C8DEEF8B}"/>
            </ac:spMkLst>
          </pc:spChg>
          <pc:graphicFrameChg chg="mod">
            <ac:chgData name="Tobias Brammer" userId="80a1e1bd-3b82-47a5-b259-da62a397db92" providerId="ADAL" clId="{CC804E0E-B381-4A8C-832B-11046074747A}" dt="2023-09-27T07:39:03.646" v="1575"/>
            <ac:graphicFrameMkLst>
              <pc:docMk/>
              <pc:sldMasterMk cId="408341288" sldId="2147483648"/>
              <pc:sldLayoutMk cId="547289489" sldId="2147483681"/>
              <ac:graphicFrameMk id="4" creationId="{F3EE7813-74C2-F8E1-D412-BE30BC2B57C4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3" v="1579"/>
          <pc:sldLayoutMkLst>
            <pc:docMk/>
            <pc:sldMasterMk cId="408341288" sldId="2147483648"/>
            <pc:sldLayoutMk cId="1364635059" sldId="2147483682"/>
          </pc:sldLayoutMkLst>
          <pc:spChg chg="mod">
            <ac:chgData name="Tobias Brammer" userId="80a1e1bd-3b82-47a5-b259-da62a397db92" providerId="ADAL" clId="{CC804E0E-B381-4A8C-832B-11046074747A}" dt="2023-09-27T07:39:03.261" v="1034" actId="948"/>
            <ac:spMkLst>
              <pc:docMk/>
              <pc:sldMasterMk cId="408341288" sldId="2147483648"/>
              <pc:sldLayoutMk cId="1364635059" sldId="2147483682"/>
              <ac:spMk id="2" creationId="{A45B6DFC-9623-4183-8403-5AF3E92605AA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46" v="1577"/>
            <ac:spMkLst>
              <pc:docMk/>
              <pc:sldMasterMk cId="408341288" sldId="2147483648"/>
              <pc:sldLayoutMk cId="1364635059" sldId="2147483682"/>
              <ac:spMk id="3" creationId="{68DED495-CACE-345D-EFD0-94491D6CFAA6}"/>
            </ac:spMkLst>
          </pc:spChg>
          <pc:spChg chg="mod">
            <ac:chgData name="Tobias Brammer" userId="80a1e1bd-3b82-47a5-b259-da62a397db92" providerId="ADAL" clId="{CC804E0E-B381-4A8C-832B-11046074747A}" dt="2023-09-27T07:39:01.972" v="490" actId="790"/>
            <ac:spMkLst>
              <pc:docMk/>
              <pc:sldMasterMk cId="408341288" sldId="2147483648"/>
              <pc:sldLayoutMk cId="1364635059" sldId="2147483682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CC804E0E-B381-4A8C-832B-11046074747A}" dt="2023-09-27T07:39:01.956" v="488" actId="790"/>
            <ac:spMkLst>
              <pc:docMk/>
              <pc:sldMasterMk cId="408341288" sldId="2147483648"/>
              <pc:sldLayoutMk cId="1364635059" sldId="2147483682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CC804E0E-B381-4A8C-832B-11046074747A}" dt="2023-09-27T07:39:01.972" v="491" actId="790"/>
            <ac:spMkLst>
              <pc:docMk/>
              <pc:sldMasterMk cId="408341288" sldId="2147483648"/>
              <pc:sldLayoutMk cId="1364635059" sldId="2147483682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CC804E0E-B381-4A8C-832B-11046074747A}" dt="2023-09-27T07:39:01.988" v="493" actId="947"/>
            <ac:spMkLst>
              <pc:docMk/>
              <pc:sldMasterMk cId="408341288" sldId="2147483648"/>
              <pc:sldLayoutMk cId="1364635059" sldId="2147483682"/>
              <ac:spMk id="13" creationId="{18590422-9BE5-4289-94F5-8531586DFCD8}"/>
            </ac:spMkLst>
          </pc:spChg>
          <pc:graphicFrameChg chg="mod">
            <ac:chgData name="Tobias Brammer" userId="80a1e1bd-3b82-47a5-b259-da62a397db92" providerId="ADAL" clId="{CC804E0E-B381-4A8C-832B-11046074747A}" dt="2023-09-27T07:39:03.653" v="1579"/>
            <ac:graphicFrameMkLst>
              <pc:docMk/>
              <pc:sldMasterMk cId="408341288" sldId="2147483648"/>
              <pc:sldLayoutMk cId="1364635059" sldId="2147483682"/>
              <ac:graphicFrameMk id="4" creationId="{C012E119-F5DD-6106-9214-36AB682F7F06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6" v="1583"/>
          <pc:sldLayoutMkLst>
            <pc:docMk/>
            <pc:sldMasterMk cId="408341288" sldId="2147483648"/>
            <pc:sldLayoutMk cId="3912777144" sldId="2147483683"/>
          </pc:sldLayoutMkLst>
          <pc:spChg chg="add del mod modVis">
            <ac:chgData name="Tobias Brammer" userId="80a1e1bd-3b82-47a5-b259-da62a397db92" providerId="ADAL" clId="{CC804E0E-B381-4A8C-832B-11046074747A}" dt="2023-09-27T07:39:03.655" v="1581"/>
            <ac:spMkLst>
              <pc:docMk/>
              <pc:sldMasterMk cId="408341288" sldId="2147483648"/>
              <pc:sldLayoutMk cId="3912777144" sldId="2147483683"/>
              <ac:spMk id="2" creationId="{4AE15B7C-04B1-C11A-F008-7862E807C65F}"/>
            </ac:spMkLst>
          </pc:spChg>
          <pc:spChg chg="mod">
            <ac:chgData name="Tobias Brammer" userId="80a1e1bd-3b82-47a5-b259-da62a397db92" providerId="ADAL" clId="{CC804E0E-B381-4A8C-832B-11046074747A}" dt="2023-09-27T07:39:01.994" v="497" actId="790"/>
            <ac:spMkLst>
              <pc:docMk/>
              <pc:sldMasterMk cId="408341288" sldId="2147483648"/>
              <pc:sldLayoutMk cId="3912777144" sldId="214748368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CC804E0E-B381-4A8C-832B-11046074747A}" dt="2023-09-27T07:39:01.988" v="494" actId="790"/>
            <ac:spMkLst>
              <pc:docMk/>
              <pc:sldMasterMk cId="408341288" sldId="2147483648"/>
              <pc:sldLayoutMk cId="3912777144" sldId="214748368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CC804E0E-B381-4A8C-832B-11046074747A}" dt="2023-09-27T07:39:01.994" v="498" actId="790"/>
            <ac:spMkLst>
              <pc:docMk/>
              <pc:sldMasterMk cId="408341288" sldId="2147483648"/>
              <pc:sldLayoutMk cId="3912777144" sldId="2147483683"/>
              <ac:spMk id="16" creationId="{C9E9BA6B-A909-4C0A-8466-CD595BEE7A3F}"/>
            </ac:spMkLst>
          </pc:spChg>
          <pc:spChg chg="mod">
            <ac:chgData name="Tobias Brammer" userId="80a1e1bd-3b82-47a5-b259-da62a397db92" providerId="ADAL" clId="{CC804E0E-B381-4A8C-832B-11046074747A}" dt="2023-09-27T07:39:03.276" v="1072" actId="948"/>
            <ac:spMkLst>
              <pc:docMk/>
              <pc:sldMasterMk cId="408341288" sldId="2147483648"/>
              <pc:sldLayoutMk cId="3912777144" sldId="2147483683"/>
              <ac:spMk id="18" creationId="{9BC18D5D-BEB9-4927-939D-CB0865E74EF0}"/>
            </ac:spMkLst>
          </pc:spChg>
          <pc:spChg chg="mod">
            <ac:chgData name="Tobias Brammer" userId="80a1e1bd-3b82-47a5-b259-da62a397db92" providerId="ADAL" clId="{CC804E0E-B381-4A8C-832B-11046074747A}" dt="2023-09-27T07:39:01.994" v="499" actId="790"/>
            <ac:spMkLst>
              <pc:docMk/>
              <pc:sldMasterMk cId="408341288" sldId="2147483648"/>
              <pc:sldLayoutMk cId="3912777144" sldId="2147483683"/>
              <ac:spMk id="19" creationId="{70CCB88D-D695-4EB7-926A-A112876360AD}"/>
            </ac:spMkLst>
          </pc:spChg>
          <pc:spChg chg="mod">
            <ac:chgData name="Tobias Brammer" userId="80a1e1bd-3b82-47a5-b259-da62a397db92" providerId="ADAL" clId="{CC804E0E-B381-4A8C-832B-11046074747A}" dt="2023-09-27T07:39:01.994" v="495" actId="790"/>
            <ac:spMkLst>
              <pc:docMk/>
              <pc:sldMasterMk cId="408341288" sldId="2147483648"/>
              <pc:sldLayoutMk cId="3912777144" sldId="2147483683"/>
              <ac:spMk id="32" creationId="{BA3D0DD0-91F8-4803-BD5E-DEFAF18680C3}"/>
            </ac:spMkLst>
          </pc:spChg>
          <pc:spChg chg="mod">
            <ac:chgData name="Tobias Brammer" userId="80a1e1bd-3b82-47a5-b259-da62a397db92" providerId="ADAL" clId="{CC804E0E-B381-4A8C-832B-11046074747A}" dt="2023-09-27T07:39:02.026" v="501" actId="947"/>
            <ac:spMkLst>
              <pc:docMk/>
              <pc:sldMasterMk cId="408341288" sldId="2147483648"/>
              <pc:sldLayoutMk cId="3912777144" sldId="2147483683"/>
              <ac:spMk id="33" creationId="{C96493EE-CEB4-4D66-95C2-0B294097E5C1}"/>
            </ac:spMkLst>
          </pc:spChg>
          <pc:graphicFrameChg chg="mod">
            <ac:chgData name="Tobias Brammer" userId="80a1e1bd-3b82-47a5-b259-da62a397db92" providerId="ADAL" clId="{CC804E0E-B381-4A8C-832B-11046074747A}" dt="2023-09-27T07:39:03.656" v="1583"/>
            <ac:graphicFrameMkLst>
              <pc:docMk/>
              <pc:sldMasterMk cId="408341288" sldId="2147483648"/>
              <pc:sldLayoutMk cId="3912777144" sldId="2147483683"/>
              <ac:graphicFrameMk id="3" creationId="{DB55FE80-6286-289B-DD1E-C57D0B5F519F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6" v="1587"/>
          <pc:sldLayoutMkLst>
            <pc:docMk/>
            <pc:sldMasterMk cId="408341288" sldId="2147483648"/>
            <pc:sldLayoutMk cId="3865668458" sldId="2147483684"/>
          </pc:sldLayoutMkLst>
          <pc:spChg chg="mod">
            <ac:chgData name="Tobias Brammer" userId="80a1e1bd-3b82-47a5-b259-da62a397db92" providerId="ADAL" clId="{CC804E0E-B381-4A8C-832B-11046074747A}" dt="2023-09-27T07:39:03.299" v="1110" actId="948"/>
            <ac:spMkLst>
              <pc:docMk/>
              <pc:sldMasterMk cId="408341288" sldId="2147483648"/>
              <pc:sldLayoutMk cId="3865668458" sldId="2147483684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56" v="1585"/>
            <ac:spMkLst>
              <pc:docMk/>
              <pc:sldMasterMk cId="408341288" sldId="2147483648"/>
              <pc:sldLayoutMk cId="3865668458" sldId="2147483684"/>
              <ac:spMk id="3" creationId="{2549C3F1-DDD4-ADD2-6ECC-10448ADE364C}"/>
            </ac:spMkLst>
          </pc:spChg>
          <pc:spChg chg="mod">
            <ac:chgData name="Tobias Brammer" userId="80a1e1bd-3b82-47a5-b259-da62a397db92" providerId="ADAL" clId="{CC804E0E-B381-4A8C-832B-11046074747A}" dt="2023-09-27T07:39:02.026" v="503" actId="790"/>
            <ac:spMkLst>
              <pc:docMk/>
              <pc:sldMasterMk cId="408341288" sldId="2147483648"/>
              <pc:sldLayoutMk cId="3865668458" sldId="2147483684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041" v="504" actId="790"/>
            <ac:spMkLst>
              <pc:docMk/>
              <pc:sldMasterMk cId="408341288" sldId="2147483648"/>
              <pc:sldLayoutMk cId="3865668458" sldId="2147483684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CC804E0E-B381-4A8C-832B-11046074747A}" dt="2023-09-27T07:39:02.041" v="505" actId="790"/>
            <ac:spMkLst>
              <pc:docMk/>
              <pc:sldMasterMk cId="408341288" sldId="2147483648"/>
              <pc:sldLayoutMk cId="3865668458" sldId="2147483684"/>
              <ac:spMk id="9" creationId="{2A765D59-1E8F-45BF-9694-4433FBE0A66E}"/>
            </ac:spMkLst>
          </pc:spChg>
          <pc:graphicFrameChg chg="mod">
            <ac:chgData name="Tobias Brammer" userId="80a1e1bd-3b82-47a5-b259-da62a397db92" providerId="ADAL" clId="{CC804E0E-B381-4A8C-832B-11046074747A}" dt="2023-09-27T07:39:03.656" v="1587"/>
            <ac:graphicFrameMkLst>
              <pc:docMk/>
              <pc:sldMasterMk cId="408341288" sldId="2147483648"/>
              <pc:sldLayoutMk cId="3865668458" sldId="2147483684"/>
              <ac:graphicFrameMk id="4" creationId="{06E8AE74-7B17-EDE3-BB81-AD934018C725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6" v="1591"/>
          <pc:sldLayoutMkLst>
            <pc:docMk/>
            <pc:sldMasterMk cId="408341288" sldId="2147483648"/>
            <pc:sldLayoutMk cId="1230172900" sldId="2147483685"/>
          </pc:sldLayoutMkLst>
          <pc:spChg chg="mod">
            <ac:chgData name="Tobias Brammer" userId="80a1e1bd-3b82-47a5-b259-da62a397db92" providerId="ADAL" clId="{CC804E0E-B381-4A8C-832B-11046074747A}" dt="2023-09-27T07:39:03.330" v="1148" actId="948"/>
            <ac:spMkLst>
              <pc:docMk/>
              <pc:sldMasterMk cId="408341288" sldId="2147483648"/>
              <pc:sldLayoutMk cId="1230172900" sldId="2147483685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56" v="1589"/>
            <ac:spMkLst>
              <pc:docMk/>
              <pc:sldMasterMk cId="408341288" sldId="2147483648"/>
              <pc:sldLayoutMk cId="1230172900" sldId="2147483685"/>
              <ac:spMk id="3" creationId="{0850CB87-12AA-AF08-031D-1ED11E397BE0}"/>
            </ac:spMkLst>
          </pc:spChg>
          <pc:spChg chg="mod">
            <ac:chgData name="Tobias Brammer" userId="80a1e1bd-3b82-47a5-b259-da62a397db92" providerId="ADAL" clId="{CC804E0E-B381-4A8C-832B-11046074747A}" dt="2023-09-27T07:39:02.041" v="507" actId="790"/>
            <ac:spMkLst>
              <pc:docMk/>
              <pc:sldMasterMk cId="408341288" sldId="2147483648"/>
              <pc:sldLayoutMk cId="1230172900" sldId="2147483685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057" v="508" actId="790"/>
            <ac:spMkLst>
              <pc:docMk/>
              <pc:sldMasterMk cId="408341288" sldId="2147483648"/>
              <pc:sldLayoutMk cId="1230172900" sldId="2147483685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CC804E0E-B381-4A8C-832B-11046074747A}" dt="2023-09-27T07:39:02.057" v="509" actId="790"/>
            <ac:spMkLst>
              <pc:docMk/>
              <pc:sldMasterMk cId="408341288" sldId="2147483648"/>
              <pc:sldLayoutMk cId="1230172900" sldId="2147483685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CC804E0E-B381-4A8C-832B-11046074747A}" dt="2023-09-27T07:39:02.057" v="510" actId="790"/>
            <ac:spMkLst>
              <pc:docMk/>
              <pc:sldMasterMk cId="408341288" sldId="2147483648"/>
              <pc:sldLayoutMk cId="1230172900" sldId="2147483685"/>
              <ac:spMk id="9" creationId="{2A765D59-1E8F-45BF-9694-4433FBE0A66E}"/>
            </ac:spMkLst>
          </pc:spChg>
          <pc:graphicFrameChg chg="mod">
            <ac:chgData name="Tobias Brammer" userId="80a1e1bd-3b82-47a5-b259-da62a397db92" providerId="ADAL" clId="{CC804E0E-B381-4A8C-832B-11046074747A}" dt="2023-09-27T07:39:03.656" v="1591"/>
            <ac:graphicFrameMkLst>
              <pc:docMk/>
              <pc:sldMasterMk cId="408341288" sldId="2147483648"/>
              <pc:sldLayoutMk cId="1230172900" sldId="2147483685"/>
              <ac:graphicFrameMk id="4" creationId="{E87B03DB-BAEC-5561-E2F2-6CA14020B0FA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56" v="1595"/>
          <pc:sldLayoutMkLst>
            <pc:docMk/>
            <pc:sldMasterMk cId="408341288" sldId="2147483648"/>
            <pc:sldLayoutMk cId="1463015649" sldId="2147483686"/>
          </pc:sldLayoutMkLst>
          <pc:spChg chg="mod">
            <ac:chgData name="Tobias Brammer" userId="80a1e1bd-3b82-47a5-b259-da62a397db92" providerId="ADAL" clId="{CC804E0E-B381-4A8C-832B-11046074747A}" dt="2023-09-27T07:39:03.361" v="1186" actId="948"/>
            <ac:spMkLst>
              <pc:docMk/>
              <pc:sldMasterMk cId="408341288" sldId="2147483648"/>
              <pc:sldLayoutMk cId="1463015649" sldId="2147483686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56" v="1593"/>
            <ac:spMkLst>
              <pc:docMk/>
              <pc:sldMasterMk cId="408341288" sldId="2147483648"/>
              <pc:sldLayoutMk cId="1463015649" sldId="2147483686"/>
              <ac:spMk id="3" creationId="{AE8A485D-F983-0973-AF7C-94756BAE51E8}"/>
            </ac:spMkLst>
          </pc:spChg>
          <pc:spChg chg="mod">
            <ac:chgData name="Tobias Brammer" userId="80a1e1bd-3b82-47a5-b259-da62a397db92" providerId="ADAL" clId="{CC804E0E-B381-4A8C-832B-11046074747A}" dt="2023-09-27T07:39:02.073" v="512" actId="790"/>
            <ac:spMkLst>
              <pc:docMk/>
              <pc:sldMasterMk cId="408341288" sldId="2147483648"/>
              <pc:sldLayoutMk cId="1463015649" sldId="2147483686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073" v="513" actId="790"/>
            <ac:spMkLst>
              <pc:docMk/>
              <pc:sldMasterMk cId="408341288" sldId="2147483648"/>
              <pc:sldLayoutMk cId="1463015649" sldId="2147483686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CC804E0E-B381-4A8C-832B-11046074747A}" dt="2023-09-27T07:39:02.088" v="514" actId="790"/>
            <ac:spMkLst>
              <pc:docMk/>
              <pc:sldMasterMk cId="408341288" sldId="2147483648"/>
              <pc:sldLayoutMk cId="1463015649" sldId="2147483686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CC804E0E-B381-4A8C-832B-11046074747A}" dt="2023-09-27T07:39:02.095" v="515" actId="790"/>
            <ac:spMkLst>
              <pc:docMk/>
              <pc:sldMasterMk cId="408341288" sldId="2147483648"/>
              <pc:sldLayoutMk cId="1463015649" sldId="2147483686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CC804E0E-B381-4A8C-832B-11046074747A}" dt="2023-09-27T07:39:02.095" v="516" actId="790"/>
            <ac:spMkLst>
              <pc:docMk/>
              <pc:sldMasterMk cId="408341288" sldId="2147483648"/>
              <pc:sldLayoutMk cId="1463015649" sldId="2147483686"/>
              <ac:spMk id="10" creationId="{6A45B6CB-352F-4E32-AF69-C299C10A51C2}"/>
            </ac:spMkLst>
          </pc:spChg>
          <pc:graphicFrameChg chg="mod">
            <ac:chgData name="Tobias Brammer" userId="80a1e1bd-3b82-47a5-b259-da62a397db92" providerId="ADAL" clId="{CC804E0E-B381-4A8C-832B-11046074747A}" dt="2023-09-27T07:39:03.656" v="1595"/>
            <ac:graphicFrameMkLst>
              <pc:docMk/>
              <pc:sldMasterMk cId="408341288" sldId="2147483648"/>
              <pc:sldLayoutMk cId="1463015649" sldId="2147483686"/>
              <ac:graphicFrameMk id="4" creationId="{A407E8C6-0376-2DE4-3C8E-914D1A021849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72" v="1603"/>
          <pc:sldLayoutMkLst>
            <pc:docMk/>
            <pc:sldMasterMk cId="408341288" sldId="2147483648"/>
            <pc:sldLayoutMk cId="3511884162" sldId="2147483687"/>
          </pc:sldLayoutMkLst>
          <pc:spChg chg="mod">
            <ac:chgData name="Tobias Brammer" userId="80a1e1bd-3b82-47a5-b259-da62a397db92" providerId="ADAL" clId="{CC804E0E-B381-4A8C-832B-11046074747A}" dt="2023-09-27T07:39:03.414" v="1262" actId="948"/>
            <ac:spMkLst>
              <pc:docMk/>
              <pc:sldMasterMk cId="408341288" sldId="2147483648"/>
              <pc:sldLayoutMk cId="3511884162" sldId="2147483687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72" v="1601"/>
            <ac:spMkLst>
              <pc:docMk/>
              <pc:sldMasterMk cId="408341288" sldId="2147483648"/>
              <pc:sldLayoutMk cId="3511884162" sldId="2147483687"/>
              <ac:spMk id="3" creationId="{DC975C43-B4BB-8850-08A2-F27D2500B57B}"/>
            </ac:spMkLst>
          </pc:spChg>
          <pc:spChg chg="mod">
            <ac:chgData name="Tobias Brammer" userId="80a1e1bd-3b82-47a5-b259-da62a397db92" providerId="ADAL" clId="{CC804E0E-B381-4A8C-832B-11046074747A}" dt="2023-09-27T07:39:02.126" v="524" actId="790"/>
            <ac:spMkLst>
              <pc:docMk/>
              <pc:sldMasterMk cId="408341288" sldId="2147483648"/>
              <pc:sldLayoutMk cId="3511884162" sldId="2147483687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126" v="525" actId="790"/>
            <ac:spMkLst>
              <pc:docMk/>
              <pc:sldMasterMk cId="408341288" sldId="2147483648"/>
              <pc:sldLayoutMk cId="3511884162" sldId="2147483687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CC804E0E-B381-4A8C-832B-11046074747A}" dt="2023-09-27T07:39:02.142" v="526" actId="790"/>
            <ac:spMkLst>
              <pc:docMk/>
              <pc:sldMasterMk cId="408341288" sldId="2147483648"/>
              <pc:sldLayoutMk cId="3511884162" sldId="2147483687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CC804E0E-B381-4A8C-832B-11046074747A}" dt="2023-09-27T07:39:02.142" v="527" actId="790"/>
            <ac:spMkLst>
              <pc:docMk/>
              <pc:sldMasterMk cId="408341288" sldId="2147483648"/>
              <pc:sldLayoutMk cId="3511884162" sldId="2147483687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CC804E0E-B381-4A8C-832B-11046074747A}" dt="2023-09-27T07:39:02.142" v="528" actId="790"/>
            <ac:spMkLst>
              <pc:docMk/>
              <pc:sldMasterMk cId="408341288" sldId="2147483648"/>
              <pc:sldLayoutMk cId="3511884162" sldId="2147483687"/>
              <ac:spMk id="10" creationId="{52179531-8123-4684-8DC8-C0C8F5375C25}"/>
            </ac:spMkLst>
          </pc:spChg>
          <pc:spChg chg="mod">
            <ac:chgData name="Tobias Brammer" userId="80a1e1bd-3b82-47a5-b259-da62a397db92" providerId="ADAL" clId="{CC804E0E-B381-4A8C-832B-11046074747A}" dt="2023-09-27T07:39:02.142" v="529" actId="790"/>
            <ac:spMkLst>
              <pc:docMk/>
              <pc:sldMasterMk cId="408341288" sldId="2147483648"/>
              <pc:sldLayoutMk cId="3511884162" sldId="2147483687"/>
              <ac:spMk id="13" creationId="{86BB78F2-84F0-4A0A-9793-68171CF5E7E1}"/>
            </ac:spMkLst>
          </pc:spChg>
          <pc:spChg chg="mod">
            <ac:chgData name="Tobias Brammer" userId="80a1e1bd-3b82-47a5-b259-da62a397db92" providerId="ADAL" clId="{CC804E0E-B381-4A8C-832B-11046074747A}" dt="2023-09-27T07:39:02.142" v="530" actId="790"/>
            <ac:spMkLst>
              <pc:docMk/>
              <pc:sldMasterMk cId="408341288" sldId="2147483648"/>
              <pc:sldLayoutMk cId="3511884162" sldId="2147483687"/>
              <ac:spMk id="14" creationId="{4377A560-23C0-491F-BDB7-C58123E772DF}"/>
            </ac:spMkLst>
          </pc:spChg>
          <pc:graphicFrameChg chg="mod">
            <ac:chgData name="Tobias Brammer" userId="80a1e1bd-3b82-47a5-b259-da62a397db92" providerId="ADAL" clId="{CC804E0E-B381-4A8C-832B-11046074747A}" dt="2023-09-27T07:39:03.672" v="1603"/>
            <ac:graphicFrameMkLst>
              <pc:docMk/>
              <pc:sldMasterMk cId="408341288" sldId="2147483648"/>
              <pc:sldLayoutMk cId="3511884162" sldId="2147483687"/>
              <ac:graphicFrameMk id="4" creationId="{894B3E18-6AF9-96A9-7EF6-3F8F268D7B69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72" v="1607"/>
          <pc:sldLayoutMkLst>
            <pc:docMk/>
            <pc:sldMasterMk cId="408341288" sldId="2147483648"/>
            <pc:sldLayoutMk cId="1427491588" sldId="2147483688"/>
          </pc:sldLayoutMkLst>
          <pc:spChg chg="mod">
            <ac:chgData name="Tobias Brammer" userId="80a1e1bd-3b82-47a5-b259-da62a397db92" providerId="ADAL" clId="{CC804E0E-B381-4A8C-832B-11046074747A}" dt="2023-09-27T07:39:03.446" v="1300" actId="948"/>
            <ac:spMkLst>
              <pc:docMk/>
              <pc:sldMasterMk cId="408341288" sldId="2147483648"/>
              <pc:sldLayoutMk cId="1427491588" sldId="2147483688"/>
              <ac:spMk id="2" creationId="{41406E95-0077-466F-B205-C9B6361A1F13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72" v="1605"/>
            <ac:spMkLst>
              <pc:docMk/>
              <pc:sldMasterMk cId="408341288" sldId="2147483648"/>
              <pc:sldLayoutMk cId="1427491588" sldId="2147483688"/>
              <ac:spMk id="3" creationId="{AC1AC490-1977-DAB1-B80A-E7D0FB19EC2B}"/>
            </ac:spMkLst>
          </pc:spChg>
          <pc:spChg chg="mod">
            <ac:chgData name="Tobias Brammer" userId="80a1e1bd-3b82-47a5-b259-da62a397db92" providerId="ADAL" clId="{CC804E0E-B381-4A8C-832B-11046074747A}" dt="2023-09-27T07:39:02.157" v="532" actId="790"/>
            <ac:spMkLst>
              <pc:docMk/>
              <pc:sldMasterMk cId="408341288" sldId="2147483648"/>
              <pc:sldLayoutMk cId="1427491588" sldId="2147483688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CC804E0E-B381-4A8C-832B-11046074747A}" dt="2023-09-27T07:39:02.157" v="533" actId="790"/>
            <ac:spMkLst>
              <pc:docMk/>
              <pc:sldMasterMk cId="408341288" sldId="2147483648"/>
              <pc:sldLayoutMk cId="1427491588" sldId="2147483688"/>
              <ac:spMk id="11" creationId="{F7E1B724-1863-4934-82EC-6D065E0A0F15}"/>
            </ac:spMkLst>
          </pc:spChg>
          <pc:spChg chg="mod">
            <ac:chgData name="Tobias Brammer" userId="80a1e1bd-3b82-47a5-b259-da62a397db92" providerId="ADAL" clId="{CC804E0E-B381-4A8C-832B-11046074747A}" dt="2023-09-27T07:39:02.173" v="534" actId="790"/>
            <ac:spMkLst>
              <pc:docMk/>
              <pc:sldMasterMk cId="408341288" sldId="2147483648"/>
              <pc:sldLayoutMk cId="1427491588" sldId="2147483688"/>
              <ac:spMk id="12" creationId="{41975656-DFB7-4063-B691-5AD6F9E0901C}"/>
            </ac:spMkLst>
          </pc:spChg>
          <pc:spChg chg="mod">
            <ac:chgData name="Tobias Brammer" userId="80a1e1bd-3b82-47a5-b259-da62a397db92" providerId="ADAL" clId="{CC804E0E-B381-4A8C-832B-11046074747A}" dt="2023-09-27T07:39:02.173" v="535" actId="790"/>
            <ac:spMkLst>
              <pc:docMk/>
              <pc:sldMasterMk cId="408341288" sldId="2147483648"/>
              <pc:sldLayoutMk cId="1427491588" sldId="2147483688"/>
              <ac:spMk id="13" creationId="{22C5418F-AF34-42EC-8A58-7BF2F892BD62}"/>
            </ac:spMkLst>
          </pc:spChg>
          <pc:spChg chg="mod">
            <ac:chgData name="Tobias Brammer" userId="80a1e1bd-3b82-47a5-b259-da62a397db92" providerId="ADAL" clId="{CC804E0E-B381-4A8C-832B-11046074747A}" dt="2023-09-27T07:39:02.173" v="536" actId="790"/>
            <ac:spMkLst>
              <pc:docMk/>
              <pc:sldMasterMk cId="408341288" sldId="2147483648"/>
              <pc:sldLayoutMk cId="1427491588" sldId="2147483688"/>
              <ac:spMk id="14" creationId="{AA708B7D-C86C-42CC-B31B-727B57E41D73}"/>
            </ac:spMkLst>
          </pc:spChg>
          <pc:spChg chg="mod">
            <ac:chgData name="Tobias Brammer" userId="80a1e1bd-3b82-47a5-b259-da62a397db92" providerId="ADAL" clId="{CC804E0E-B381-4A8C-832B-11046074747A}" dt="2023-09-27T07:39:02.173" v="537" actId="790"/>
            <ac:spMkLst>
              <pc:docMk/>
              <pc:sldMasterMk cId="408341288" sldId="2147483648"/>
              <pc:sldLayoutMk cId="1427491588" sldId="2147483688"/>
              <ac:spMk id="15" creationId="{C2B809B3-8F1B-4F1D-9FFA-7FBAD2E26A4B}"/>
            </ac:spMkLst>
          </pc:spChg>
          <pc:spChg chg="mod">
            <ac:chgData name="Tobias Brammer" userId="80a1e1bd-3b82-47a5-b259-da62a397db92" providerId="ADAL" clId="{CC804E0E-B381-4A8C-832B-11046074747A}" dt="2023-09-27T07:39:02.173" v="538" actId="790"/>
            <ac:spMkLst>
              <pc:docMk/>
              <pc:sldMasterMk cId="408341288" sldId="2147483648"/>
              <pc:sldLayoutMk cId="1427491588" sldId="2147483688"/>
              <ac:spMk id="16" creationId="{2E6382C7-BB6A-4A21-8265-F37ECCC6FF11}"/>
            </ac:spMkLst>
          </pc:spChg>
          <pc:spChg chg="mod">
            <ac:chgData name="Tobias Brammer" userId="80a1e1bd-3b82-47a5-b259-da62a397db92" providerId="ADAL" clId="{CC804E0E-B381-4A8C-832B-11046074747A}" dt="2023-09-27T07:39:02.189" v="539" actId="790"/>
            <ac:spMkLst>
              <pc:docMk/>
              <pc:sldMasterMk cId="408341288" sldId="2147483648"/>
              <pc:sldLayoutMk cId="1427491588" sldId="2147483688"/>
              <ac:spMk id="17" creationId="{826194ED-C5B4-4BF4-88B1-17C18E2D722C}"/>
            </ac:spMkLst>
          </pc:spChg>
          <pc:spChg chg="mod">
            <ac:chgData name="Tobias Brammer" userId="80a1e1bd-3b82-47a5-b259-da62a397db92" providerId="ADAL" clId="{CC804E0E-B381-4A8C-832B-11046074747A}" dt="2023-09-27T07:39:02.195" v="540" actId="790"/>
            <ac:spMkLst>
              <pc:docMk/>
              <pc:sldMasterMk cId="408341288" sldId="2147483648"/>
              <pc:sldLayoutMk cId="1427491588" sldId="2147483688"/>
              <ac:spMk id="18" creationId="{1807E5E9-1B45-4641-B765-AAEC167C62E6}"/>
            </ac:spMkLst>
          </pc:spChg>
          <pc:graphicFrameChg chg="mod">
            <ac:chgData name="Tobias Brammer" userId="80a1e1bd-3b82-47a5-b259-da62a397db92" providerId="ADAL" clId="{CC804E0E-B381-4A8C-832B-11046074747A}" dt="2023-09-27T07:39:03.672" v="1607"/>
            <ac:graphicFrameMkLst>
              <pc:docMk/>
              <pc:sldMasterMk cId="408341288" sldId="2147483648"/>
              <pc:sldLayoutMk cId="1427491588" sldId="2147483688"/>
              <ac:graphicFrameMk id="4" creationId="{DF67402E-0A98-654F-37FA-246E12DB1E2B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30" v="1559"/>
          <pc:sldLayoutMkLst>
            <pc:docMk/>
            <pc:sldMasterMk cId="408341288" sldId="2147483648"/>
            <pc:sldLayoutMk cId="1501344722" sldId="2147483691"/>
          </pc:sldLayoutMkLst>
          <pc:spChg chg="mod">
            <ac:chgData name="Tobias Brammer" userId="80a1e1bd-3b82-47a5-b259-da62a397db92" providerId="ADAL" clId="{CC804E0E-B381-4A8C-832B-11046074747A}" dt="2023-09-27T07:39:03.129" v="844" actId="948"/>
            <ac:spMkLst>
              <pc:docMk/>
              <pc:sldMasterMk cId="408341288" sldId="2147483648"/>
              <pc:sldLayoutMk cId="1501344722" sldId="2147483691"/>
              <ac:spMk id="2" creationId="{92C1918C-9363-4876-BE81-A1CD339A2D47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57"/>
            <ac:spMkLst>
              <pc:docMk/>
              <pc:sldMasterMk cId="408341288" sldId="2147483648"/>
              <pc:sldLayoutMk cId="1501344722" sldId="2147483691"/>
              <ac:spMk id="3" creationId="{25B5FF4F-715D-3917-F8E5-3B7063D69AE3}"/>
            </ac:spMkLst>
          </pc:spChg>
          <pc:spChg chg="mod">
            <ac:chgData name="Tobias Brammer" userId="80a1e1bd-3b82-47a5-b259-da62a397db92" providerId="ADAL" clId="{CC804E0E-B381-4A8C-832B-11046074747A}" dt="2023-09-27T07:39:01.857" v="463" actId="790"/>
            <ac:spMkLst>
              <pc:docMk/>
              <pc:sldMasterMk cId="408341288" sldId="2147483648"/>
              <pc:sldLayoutMk cId="1501344722" sldId="2147483691"/>
              <ac:spMk id="5" creationId="{51F8DDE5-E09E-4851-80C7-9117A55BBA61}"/>
            </ac:spMkLst>
          </pc:spChg>
          <pc:spChg chg="mod">
            <ac:chgData name="Tobias Brammer" userId="80a1e1bd-3b82-47a5-b259-da62a397db92" providerId="ADAL" clId="{CC804E0E-B381-4A8C-832B-11046074747A}" dt="2023-09-27T07:39:01.872" v="464" actId="790"/>
            <ac:spMkLst>
              <pc:docMk/>
              <pc:sldMasterMk cId="408341288" sldId="2147483648"/>
              <pc:sldLayoutMk cId="1501344722" sldId="2147483691"/>
              <ac:spMk id="12" creationId="{529B0911-F7F1-4774-A696-6B9D2735D4E2}"/>
            </ac:spMkLst>
          </pc:spChg>
          <pc:spChg chg="mod">
            <ac:chgData name="Tobias Brammer" userId="80a1e1bd-3b82-47a5-b259-da62a397db92" providerId="ADAL" clId="{CC804E0E-B381-4A8C-832B-11046074747A}" dt="2023-09-27T07:39:01.872" v="465" actId="790"/>
            <ac:spMkLst>
              <pc:docMk/>
              <pc:sldMasterMk cId="408341288" sldId="2147483648"/>
              <pc:sldLayoutMk cId="1501344722" sldId="2147483691"/>
              <ac:spMk id="16" creationId="{EAB1C4A3-F47C-4231-AAC2-76E60133E4E9}"/>
            </ac:spMkLst>
          </pc:spChg>
          <pc:spChg chg="mod">
            <ac:chgData name="Tobias Brammer" userId="80a1e1bd-3b82-47a5-b259-da62a397db92" providerId="ADAL" clId="{CC804E0E-B381-4A8C-832B-11046074747A}" dt="2023-09-27T07:39:01.872" v="466" actId="790"/>
            <ac:spMkLst>
              <pc:docMk/>
              <pc:sldMasterMk cId="408341288" sldId="2147483648"/>
              <pc:sldLayoutMk cId="1501344722" sldId="2147483691"/>
              <ac:spMk id="19" creationId="{93B756E9-F541-497F-92B6-1332822426C2}"/>
            </ac:spMkLst>
          </pc:spChg>
          <pc:spChg chg="mod">
            <ac:chgData name="Tobias Brammer" userId="80a1e1bd-3b82-47a5-b259-da62a397db92" providerId="ADAL" clId="{CC804E0E-B381-4A8C-832B-11046074747A}" dt="2023-09-27T07:39:01.872" v="467" actId="790"/>
            <ac:spMkLst>
              <pc:docMk/>
              <pc:sldMasterMk cId="408341288" sldId="2147483648"/>
              <pc:sldLayoutMk cId="1501344722" sldId="2147483691"/>
              <ac:spMk id="20" creationId="{526EFD36-E395-47FA-A4C9-907A4C94848A}"/>
            </ac:spMkLst>
          </pc:spChg>
          <pc:graphicFrameChg chg="mod">
            <ac:chgData name="Tobias Brammer" userId="80a1e1bd-3b82-47a5-b259-da62a397db92" providerId="ADAL" clId="{CC804E0E-B381-4A8C-832B-11046074747A}" dt="2023-09-27T07:39:03.630" v="1559"/>
            <ac:graphicFrameMkLst>
              <pc:docMk/>
              <pc:sldMasterMk cId="408341288" sldId="2147483648"/>
              <pc:sldLayoutMk cId="1501344722" sldId="2147483691"/>
              <ac:graphicFrameMk id="4" creationId="{639A8324-4EAB-D001-BF91-8F238CF8521C}"/>
            </ac:graphicFrameMkLst>
          </pc:graphicFrameChg>
        </pc:sldLayoutChg>
        <pc:sldLayoutChg chg="addSp delSp modSp mod">
          <pc:chgData name="Tobias Brammer" userId="80a1e1bd-3b82-47a5-b259-da62a397db92" providerId="ADAL" clId="{CC804E0E-B381-4A8C-832B-11046074747A}" dt="2023-09-27T07:39:03.646" v="1571"/>
          <pc:sldLayoutMkLst>
            <pc:docMk/>
            <pc:sldMasterMk cId="408341288" sldId="2147483648"/>
            <pc:sldLayoutMk cId="2650753366" sldId="2147483692"/>
          </pc:sldLayoutMkLst>
          <pc:spChg chg="mod">
            <ac:chgData name="Tobias Brammer" userId="80a1e1bd-3b82-47a5-b259-da62a397db92" providerId="ADAL" clId="{CC804E0E-B381-4A8C-832B-11046074747A}" dt="2023-09-27T07:39:03.198" v="958" actId="948"/>
            <ac:spMkLst>
              <pc:docMk/>
              <pc:sldMasterMk cId="408341288" sldId="2147483648"/>
              <pc:sldLayoutMk cId="2650753366" sldId="2147483692"/>
              <ac:spMk id="2" creationId="{EDABB80B-B68E-403D-8533-538037F78BC9}"/>
            </ac:spMkLst>
          </pc:spChg>
          <pc:spChg chg="add del mod modVis">
            <ac:chgData name="Tobias Brammer" userId="80a1e1bd-3b82-47a5-b259-da62a397db92" providerId="ADAL" clId="{CC804E0E-B381-4A8C-832B-11046074747A}" dt="2023-09-27T07:39:03.630" v="1569"/>
            <ac:spMkLst>
              <pc:docMk/>
              <pc:sldMasterMk cId="408341288" sldId="2147483648"/>
              <pc:sldLayoutMk cId="2650753366" sldId="2147483692"/>
              <ac:spMk id="3" creationId="{96A7AEBC-70DD-8FA4-AC13-F5A6835F6702}"/>
            </ac:spMkLst>
          </pc:spChg>
          <pc:spChg chg="mod">
            <ac:chgData name="Tobias Brammer" userId="80a1e1bd-3b82-47a5-b259-da62a397db92" providerId="ADAL" clId="{CC804E0E-B381-4A8C-832B-11046074747A}" dt="2023-09-27T07:39:01.925" v="480" actId="790"/>
            <ac:spMkLst>
              <pc:docMk/>
              <pc:sldMasterMk cId="408341288" sldId="2147483648"/>
              <pc:sldLayoutMk cId="2650753366" sldId="2147483692"/>
              <ac:spMk id="5" creationId="{579AA1BE-5B22-4EEB-81F8-ABE92B61A72F}"/>
            </ac:spMkLst>
          </pc:spChg>
          <pc:spChg chg="mod">
            <ac:chgData name="Tobias Brammer" userId="80a1e1bd-3b82-47a5-b259-da62a397db92" providerId="ADAL" clId="{CC804E0E-B381-4A8C-832B-11046074747A}" dt="2023-09-27T07:39:01.925" v="481" actId="790"/>
            <ac:spMkLst>
              <pc:docMk/>
              <pc:sldMasterMk cId="408341288" sldId="2147483648"/>
              <pc:sldLayoutMk cId="2650753366" sldId="2147483692"/>
              <ac:spMk id="9" creationId="{AE3E6A7E-4961-403F-A8EA-EB08707ECA2C}"/>
            </ac:spMkLst>
          </pc:spChg>
          <pc:graphicFrameChg chg="mod">
            <ac:chgData name="Tobias Brammer" userId="80a1e1bd-3b82-47a5-b259-da62a397db92" providerId="ADAL" clId="{CC804E0E-B381-4A8C-832B-11046074747A}" dt="2023-09-27T07:39:03.646" v="1571"/>
            <ac:graphicFrameMkLst>
              <pc:docMk/>
              <pc:sldMasterMk cId="408341288" sldId="2147483648"/>
              <pc:sldLayoutMk cId="2650753366" sldId="2147483692"/>
              <ac:graphicFrameMk id="4" creationId="{C44E94A3-94F7-4876-BD09-C61C8FBD6718}"/>
            </ac:graphicFrameMkLst>
          </pc:graphicFrameChg>
        </pc:sldLayoutChg>
      </pc:sldMasterChg>
    </pc:docChg>
  </pc:docChgLst>
  <pc:docChgLst>
    <pc:chgData name="Tobias Brammer" userId="80a1e1bd-3b82-47a5-b259-da62a397db92" providerId="ADAL" clId="{4309C268-4C5E-44FD-9D52-D042135427E2}"/>
    <pc:docChg chg="undo custSel addSld delSld modSld sldOrd replTag">
      <pc:chgData name="Tobias Brammer" userId="80a1e1bd-3b82-47a5-b259-da62a397db92" providerId="ADAL" clId="{4309C268-4C5E-44FD-9D52-D042135427E2}" dt="2023-11-16T13:27:02.165" v="1955" actId="47"/>
      <pc:docMkLst>
        <pc:docMk/>
      </pc:docMkLst>
      <pc:sldChg chg="mod modTransition modShow">
        <pc:chgData name="Tobias Brammer" userId="80a1e1bd-3b82-47a5-b259-da62a397db92" providerId="ADAL" clId="{4309C268-4C5E-44FD-9D52-D042135427E2}" dt="2023-11-16T11:51:36.784" v="1"/>
        <pc:sldMkLst>
          <pc:docMk/>
          <pc:sldMk cId="2492524537" sldId="309"/>
        </pc:sldMkLst>
      </pc:sldChg>
      <pc:sldChg chg="del">
        <pc:chgData name="Tobias Brammer" userId="80a1e1bd-3b82-47a5-b259-da62a397db92" providerId="ADAL" clId="{4309C268-4C5E-44FD-9D52-D042135427E2}" dt="2023-11-16T12:16:04.396" v="790" actId="47"/>
        <pc:sldMkLst>
          <pc:docMk/>
          <pc:sldMk cId="3090062221" sldId="311"/>
        </pc:sldMkLst>
      </pc:sldChg>
      <pc:sldChg chg="delSp mod">
        <pc:chgData name="Tobias Brammer" userId="80a1e1bd-3b82-47a5-b259-da62a397db92" providerId="ADAL" clId="{4309C268-4C5E-44FD-9D52-D042135427E2}" dt="2023-11-16T11:52:23.817" v="8" actId="478"/>
        <pc:sldMkLst>
          <pc:docMk/>
          <pc:sldMk cId="1578015824" sldId="321"/>
        </pc:sldMkLst>
        <pc:picChg chg="del">
          <ac:chgData name="Tobias Brammer" userId="80a1e1bd-3b82-47a5-b259-da62a397db92" providerId="ADAL" clId="{4309C268-4C5E-44FD-9D52-D042135427E2}" dt="2023-11-16T11:52:22.634" v="6" actId="478"/>
          <ac:picMkLst>
            <pc:docMk/>
            <pc:sldMk cId="1578015824" sldId="321"/>
            <ac:picMk id="5" creationId="{49FEF599-4481-3F8B-4151-51CFB1C73A1D}"/>
          </ac:picMkLst>
        </pc:picChg>
        <pc:picChg chg="del">
          <ac:chgData name="Tobias Brammer" userId="80a1e1bd-3b82-47a5-b259-da62a397db92" providerId="ADAL" clId="{4309C268-4C5E-44FD-9D52-D042135427E2}" dt="2023-11-16T11:52:23.817" v="8" actId="478"/>
          <ac:picMkLst>
            <pc:docMk/>
            <pc:sldMk cId="1578015824" sldId="321"/>
            <ac:picMk id="8" creationId="{7AC3476A-B839-CB17-91E2-ACF997C5763B}"/>
          </ac:picMkLst>
        </pc:picChg>
        <pc:picChg chg="del">
          <ac:chgData name="Tobias Brammer" userId="80a1e1bd-3b82-47a5-b259-da62a397db92" providerId="ADAL" clId="{4309C268-4C5E-44FD-9D52-D042135427E2}" dt="2023-11-16T11:52:23.481" v="7" actId="478"/>
          <ac:picMkLst>
            <pc:docMk/>
            <pc:sldMk cId="1578015824" sldId="321"/>
            <ac:picMk id="11" creationId="{BD1D84C1-6A33-A37C-5477-C4E523C619A0}"/>
          </ac:picMkLst>
        </pc:picChg>
      </pc:sldChg>
      <pc:sldChg chg="mod modTransition modShow">
        <pc:chgData name="Tobias Brammer" userId="80a1e1bd-3b82-47a5-b259-da62a397db92" providerId="ADAL" clId="{4309C268-4C5E-44FD-9D52-D042135427E2}" dt="2023-11-16T11:51:36.784" v="1"/>
        <pc:sldMkLst>
          <pc:docMk/>
          <pc:sldMk cId="3780667075" sldId="324"/>
        </pc:sldMkLst>
      </pc:sldChg>
      <pc:sldChg chg="mod modTransition modShow">
        <pc:chgData name="Tobias Brammer" userId="80a1e1bd-3b82-47a5-b259-da62a397db92" providerId="ADAL" clId="{4309C268-4C5E-44FD-9D52-D042135427E2}" dt="2023-11-16T11:51:43.618" v="5"/>
        <pc:sldMkLst>
          <pc:docMk/>
          <pc:sldMk cId="2214565963" sldId="325"/>
        </pc:sldMkLst>
      </pc:sldChg>
      <pc:sldChg chg="addSp delSp modSp mod">
        <pc:chgData name="Tobias Brammer" userId="80a1e1bd-3b82-47a5-b259-da62a397db92" providerId="ADAL" clId="{4309C268-4C5E-44FD-9D52-D042135427E2}" dt="2023-11-16T13:26:42.275" v="1953" actId="1076"/>
        <pc:sldMkLst>
          <pc:docMk/>
          <pc:sldMk cId="762254632" sldId="327"/>
        </pc:sldMkLst>
        <pc:spChg chg="add del mod">
          <ac:chgData name="Tobias Brammer" userId="80a1e1bd-3b82-47a5-b259-da62a397db92" providerId="ADAL" clId="{4309C268-4C5E-44FD-9D52-D042135427E2}" dt="2023-11-16T13:26:09.485" v="1947" actId="14100"/>
          <ac:spMkLst>
            <pc:docMk/>
            <pc:sldMk cId="762254632" sldId="327"/>
            <ac:spMk id="5" creationId="{0256447C-D35F-4F86-D90B-E90F6B46AE7F}"/>
          </ac:spMkLst>
        </pc:spChg>
        <pc:picChg chg="add del mod">
          <ac:chgData name="Tobias Brammer" userId="80a1e1bd-3b82-47a5-b259-da62a397db92" providerId="ADAL" clId="{4309C268-4C5E-44FD-9D52-D042135427E2}" dt="2023-11-16T12:26:35.460" v="1601" actId="478"/>
          <ac:picMkLst>
            <pc:docMk/>
            <pc:sldMk cId="762254632" sldId="327"/>
            <ac:picMk id="2" creationId="{51296B2E-EC6C-4E59-86B7-973B09FFDAEF}"/>
          </ac:picMkLst>
        </pc:picChg>
        <pc:picChg chg="add del mod">
          <ac:chgData name="Tobias Brammer" userId="80a1e1bd-3b82-47a5-b259-da62a397db92" providerId="ADAL" clId="{4309C268-4C5E-44FD-9D52-D042135427E2}" dt="2023-11-16T12:26:45.481" v="1631" actId="478"/>
          <ac:picMkLst>
            <pc:docMk/>
            <pc:sldMk cId="762254632" sldId="327"/>
            <ac:picMk id="3" creationId="{EE90B632-E290-DAE9-7698-28DAC3B02197}"/>
          </ac:picMkLst>
        </pc:picChg>
        <pc:picChg chg="del mod ord replST">
          <ac:chgData name="Tobias Brammer" userId="80a1e1bd-3b82-47a5-b259-da62a397db92" providerId="ADAL" clId="{4309C268-4C5E-44FD-9D52-D042135427E2}" dt="2023-11-16T12:27:10.508" v="1662" actId="478"/>
          <ac:picMkLst>
            <pc:docMk/>
            <pc:sldMk cId="762254632" sldId="327"/>
            <ac:picMk id="7" creationId="{49636D9D-9A8F-6FC9-4E6C-A9D1ED6D349F}"/>
          </ac:picMkLst>
        </pc:picChg>
        <pc:picChg chg="mod ord replST">
          <ac:chgData name="Tobias Brammer" userId="80a1e1bd-3b82-47a5-b259-da62a397db92" providerId="ADAL" clId="{4309C268-4C5E-44FD-9D52-D042135427E2}" dt="2023-11-16T13:26:15.137" v="1948" actId="1076"/>
          <ac:picMkLst>
            <pc:docMk/>
            <pc:sldMk cId="762254632" sldId="327"/>
            <ac:picMk id="9" creationId="{0F345685-9460-E07A-59BB-0DD576793740}"/>
          </ac:picMkLst>
        </pc:picChg>
        <pc:picChg chg="add mod">
          <ac:chgData name="Tobias Brammer" userId="80a1e1bd-3b82-47a5-b259-da62a397db92" providerId="ADAL" clId="{4309C268-4C5E-44FD-9D52-D042135427E2}" dt="2023-11-16T13:26:42.275" v="1953" actId="1076"/>
          <ac:picMkLst>
            <pc:docMk/>
            <pc:sldMk cId="762254632" sldId="327"/>
            <ac:picMk id="12" creationId="{47664333-D894-5056-83A2-6BDBEC61091C}"/>
          </ac:picMkLst>
        </pc:picChg>
      </pc:sldChg>
      <pc:sldChg chg="mod modTransition modShow">
        <pc:chgData name="Tobias Brammer" userId="80a1e1bd-3b82-47a5-b259-da62a397db92" providerId="ADAL" clId="{4309C268-4C5E-44FD-9D52-D042135427E2}" dt="2023-11-16T11:51:39.244" v="3"/>
        <pc:sldMkLst>
          <pc:docMk/>
          <pc:sldMk cId="3444026750" sldId="328"/>
        </pc:sldMkLst>
      </pc:sldChg>
      <pc:sldChg chg="addSp delSp modSp add mod">
        <pc:chgData name="Tobias Brammer" userId="80a1e1bd-3b82-47a5-b259-da62a397db92" providerId="ADAL" clId="{4309C268-4C5E-44FD-9D52-D042135427E2}" dt="2023-11-16T12:15:49.922" v="789" actId="5793"/>
        <pc:sldMkLst>
          <pc:docMk/>
          <pc:sldMk cId="1279689104" sldId="329"/>
        </pc:sldMkLst>
        <pc:spChg chg="add del mod">
          <ac:chgData name="Tobias Brammer" userId="80a1e1bd-3b82-47a5-b259-da62a397db92" providerId="ADAL" clId="{4309C268-4C5E-44FD-9D52-D042135427E2}" dt="2023-11-16T12:02:51.088" v="33"/>
          <ac:spMkLst>
            <pc:docMk/>
            <pc:sldMk cId="1279689104" sldId="329"/>
            <ac:spMk id="6" creationId="{C876B72B-C151-2C3A-E214-1A09C4A0808A}"/>
          </ac:spMkLst>
        </pc:spChg>
        <pc:spChg chg="del mod">
          <ac:chgData name="Tobias Brammer" userId="80a1e1bd-3b82-47a5-b259-da62a397db92" providerId="ADAL" clId="{4309C268-4C5E-44FD-9D52-D042135427E2}" dt="2023-11-16T12:03:14.682" v="47" actId="478"/>
          <ac:spMkLst>
            <pc:docMk/>
            <pc:sldMk cId="1279689104" sldId="329"/>
            <ac:spMk id="7" creationId="{DEC53627-8BE2-118B-148A-8A775CEDD3D3}"/>
          </ac:spMkLst>
        </pc:spChg>
        <pc:spChg chg="add mod">
          <ac:chgData name="Tobias Brammer" userId="80a1e1bd-3b82-47a5-b259-da62a397db92" providerId="ADAL" clId="{4309C268-4C5E-44FD-9D52-D042135427E2}" dt="2023-11-16T12:15:49.922" v="789" actId="5793"/>
          <ac:spMkLst>
            <pc:docMk/>
            <pc:sldMk cId="1279689104" sldId="329"/>
            <ac:spMk id="8" creationId="{9974A259-DC86-27AE-073B-E1B517848965}"/>
          </ac:spMkLst>
        </pc:spChg>
        <pc:spChg chg="add del mod">
          <ac:chgData name="Tobias Brammer" userId="80a1e1bd-3b82-47a5-b259-da62a397db92" providerId="ADAL" clId="{4309C268-4C5E-44FD-9D52-D042135427E2}" dt="2023-11-16T12:03:16.454" v="48" actId="478"/>
          <ac:spMkLst>
            <pc:docMk/>
            <pc:sldMk cId="1279689104" sldId="329"/>
            <ac:spMk id="10" creationId="{27F7E60B-2D50-5969-849C-82C93CE3E2C5}"/>
          </ac:spMkLst>
        </pc:spChg>
        <pc:grpChg chg="del mod">
          <ac:chgData name="Tobias Brammer" userId="80a1e1bd-3b82-47a5-b259-da62a397db92" providerId="ADAL" clId="{4309C268-4C5E-44FD-9D52-D042135427E2}" dt="2023-11-16T11:56:39.977" v="19" actId="478"/>
          <ac:grpSpMkLst>
            <pc:docMk/>
            <pc:sldMk cId="1279689104" sldId="329"/>
            <ac:grpSpMk id="573" creationId="{818986B4-A717-237D-7A54-E7CB27EE1917}"/>
          </ac:grpSpMkLst>
        </pc:grpChg>
        <pc:picChg chg="add del mod">
          <ac:chgData name="Tobias Brammer" userId="80a1e1bd-3b82-47a5-b259-da62a397db92" providerId="ADAL" clId="{4309C268-4C5E-44FD-9D52-D042135427E2}" dt="2023-11-16T12:02:54.967" v="34" actId="478"/>
          <ac:picMkLst>
            <pc:docMk/>
            <pc:sldMk cId="1279689104" sldId="329"/>
            <ac:picMk id="5" creationId="{A8B6549A-1A69-93CB-91FD-0D656DD5EBD5}"/>
          </ac:picMkLst>
        </pc:picChg>
        <pc:picChg chg="mod">
          <ac:chgData name="Tobias Brammer" userId="80a1e1bd-3b82-47a5-b259-da62a397db92" providerId="ADAL" clId="{4309C268-4C5E-44FD-9D52-D042135427E2}" dt="2023-11-16T11:56:33.792" v="16" actId="14100"/>
          <ac:picMkLst>
            <pc:docMk/>
            <pc:sldMk cId="1279689104" sldId="329"/>
            <ac:picMk id="5" creationId="{AF7C8EFE-C3AE-4071-CD8B-66B4BDC92595}"/>
          </ac:picMkLst>
        </pc:picChg>
        <pc:picChg chg="add mod">
          <ac:chgData name="Tobias Brammer" userId="80a1e1bd-3b82-47a5-b259-da62a397db92" providerId="ADAL" clId="{4309C268-4C5E-44FD-9D52-D042135427E2}" dt="2023-11-16T12:04:41.661" v="98" actId="1076"/>
          <ac:picMkLst>
            <pc:docMk/>
            <pc:sldMk cId="1279689104" sldId="329"/>
            <ac:picMk id="12" creationId="{BC45735F-E063-4678-D02A-CBB56F461006}"/>
          </ac:picMkLst>
        </pc:picChg>
      </pc:sldChg>
      <pc:sldChg chg="add del">
        <pc:chgData name="Tobias Brammer" userId="80a1e1bd-3b82-47a5-b259-da62a397db92" providerId="ADAL" clId="{4309C268-4C5E-44FD-9D52-D042135427E2}" dt="2023-11-16T12:04:58.348" v="101" actId="47"/>
        <pc:sldMkLst>
          <pc:docMk/>
          <pc:sldMk cId="795149680" sldId="330"/>
        </pc:sldMkLst>
      </pc:sldChg>
      <pc:sldChg chg="modSp add mod ord">
        <pc:chgData name="Tobias Brammer" userId="80a1e1bd-3b82-47a5-b259-da62a397db92" providerId="ADAL" clId="{4309C268-4C5E-44FD-9D52-D042135427E2}" dt="2023-11-16T12:08:14.335" v="415"/>
        <pc:sldMkLst>
          <pc:docMk/>
          <pc:sldMk cId="3816713439" sldId="330"/>
        </pc:sldMkLst>
        <pc:spChg chg="mod">
          <ac:chgData name="Tobias Brammer" userId="80a1e1bd-3b82-47a5-b259-da62a397db92" providerId="ADAL" clId="{4309C268-4C5E-44FD-9D52-D042135427E2}" dt="2023-11-16T12:08:06.160" v="413" actId="20577"/>
          <ac:spMkLst>
            <pc:docMk/>
            <pc:sldMk cId="3816713439" sldId="330"/>
            <ac:spMk id="8" creationId="{9974A259-DC86-27AE-073B-E1B517848965}"/>
          </ac:spMkLst>
        </pc:spChg>
        <pc:picChg chg="mod">
          <ac:chgData name="Tobias Brammer" userId="80a1e1bd-3b82-47a5-b259-da62a397db92" providerId="ADAL" clId="{4309C268-4C5E-44FD-9D52-D042135427E2}" dt="2023-11-16T12:05:12.612" v="103" actId="14826"/>
          <ac:picMkLst>
            <pc:docMk/>
            <pc:sldMk cId="3816713439" sldId="330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4309C268-4C5E-44FD-9D52-D042135427E2}" dt="2023-11-16T12:09:49.787" v="599" actId="20577"/>
        <pc:sldMkLst>
          <pc:docMk/>
          <pc:sldMk cId="2198107308" sldId="331"/>
        </pc:sldMkLst>
        <pc:spChg chg="mod">
          <ac:chgData name="Tobias Brammer" userId="80a1e1bd-3b82-47a5-b259-da62a397db92" providerId="ADAL" clId="{4309C268-4C5E-44FD-9D52-D042135427E2}" dt="2023-11-16T12:09:49.787" v="599" actId="20577"/>
          <ac:spMkLst>
            <pc:docMk/>
            <pc:sldMk cId="2198107308" sldId="331"/>
            <ac:spMk id="8" creationId="{9974A259-DC86-27AE-073B-E1B517848965}"/>
          </ac:spMkLst>
        </pc:spChg>
        <pc:picChg chg="mod">
          <ac:chgData name="Tobias Brammer" userId="80a1e1bd-3b82-47a5-b259-da62a397db92" providerId="ADAL" clId="{4309C268-4C5E-44FD-9D52-D042135427E2}" dt="2023-11-16T12:08:33.951" v="418" actId="14826"/>
          <ac:picMkLst>
            <pc:docMk/>
            <pc:sldMk cId="2198107308" sldId="331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4309C268-4C5E-44FD-9D52-D042135427E2}" dt="2023-11-16T12:14:58.155" v="745" actId="20577"/>
        <pc:sldMkLst>
          <pc:docMk/>
          <pc:sldMk cId="1431617520" sldId="332"/>
        </pc:sldMkLst>
        <pc:spChg chg="mod">
          <ac:chgData name="Tobias Brammer" userId="80a1e1bd-3b82-47a5-b259-da62a397db92" providerId="ADAL" clId="{4309C268-4C5E-44FD-9D52-D042135427E2}" dt="2023-11-16T12:14:58.155" v="745" actId="20577"/>
          <ac:spMkLst>
            <pc:docMk/>
            <pc:sldMk cId="1431617520" sldId="332"/>
            <ac:spMk id="8" creationId="{9974A259-DC86-27AE-073B-E1B517848965}"/>
          </ac:spMkLst>
        </pc:spChg>
        <pc:picChg chg="mod">
          <ac:chgData name="Tobias Brammer" userId="80a1e1bd-3b82-47a5-b259-da62a397db92" providerId="ADAL" clId="{4309C268-4C5E-44FD-9D52-D042135427E2}" dt="2023-11-16T12:10:12.139" v="618" actId="14826"/>
          <ac:picMkLst>
            <pc:docMk/>
            <pc:sldMk cId="1431617520" sldId="332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4309C268-4C5E-44FD-9D52-D042135427E2}" dt="2023-11-16T12:12:06.078" v="744" actId="20577"/>
        <pc:sldMkLst>
          <pc:docMk/>
          <pc:sldMk cId="160220345" sldId="333"/>
        </pc:sldMkLst>
        <pc:spChg chg="mod">
          <ac:chgData name="Tobias Brammer" userId="80a1e1bd-3b82-47a5-b259-da62a397db92" providerId="ADAL" clId="{4309C268-4C5E-44FD-9D52-D042135427E2}" dt="2023-11-16T12:12:06.078" v="744" actId="20577"/>
          <ac:spMkLst>
            <pc:docMk/>
            <pc:sldMk cId="160220345" sldId="333"/>
            <ac:spMk id="8" creationId="{9974A259-DC86-27AE-073B-E1B517848965}"/>
          </ac:spMkLst>
        </pc:spChg>
        <pc:picChg chg="mod">
          <ac:chgData name="Tobias Brammer" userId="80a1e1bd-3b82-47a5-b259-da62a397db92" providerId="ADAL" clId="{4309C268-4C5E-44FD-9D52-D042135427E2}" dt="2023-11-16T12:11:46.099" v="726" actId="14826"/>
          <ac:picMkLst>
            <pc:docMk/>
            <pc:sldMk cId="160220345" sldId="333"/>
            <ac:picMk id="12" creationId="{BC45735F-E063-4678-D02A-CBB56F461006}"/>
          </ac:picMkLst>
        </pc:picChg>
      </pc:sldChg>
      <pc:sldChg chg="modSp add del mod">
        <pc:chgData name="Tobias Brammer" userId="80a1e1bd-3b82-47a5-b259-da62a397db92" providerId="ADAL" clId="{4309C268-4C5E-44FD-9D52-D042135427E2}" dt="2023-11-16T12:22:48.495" v="1390" actId="47"/>
        <pc:sldMkLst>
          <pc:docMk/>
          <pc:sldMk cId="2884824692" sldId="334"/>
        </pc:sldMkLst>
        <pc:spChg chg="mod">
          <ac:chgData name="Tobias Brammer" userId="80a1e1bd-3b82-47a5-b259-da62a397db92" providerId="ADAL" clId="{4309C268-4C5E-44FD-9D52-D042135427E2}" dt="2023-11-16T12:16:52.421" v="799" actId="948"/>
          <ac:spMkLst>
            <pc:docMk/>
            <pc:sldMk cId="2884824692" sldId="334"/>
            <ac:spMk id="2" creationId="{F7A7B11F-5560-4450-B29C-AA36EE47DBD5}"/>
          </ac:spMkLst>
        </pc:spChg>
        <pc:spChg chg="mod">
          <ac:chgData name="Tobias Brammer" userId="80a1e1bd-3b82-47a5-b259-da62a397db92" providerId="ADAL" clId="{4309C268-4C5E-44FD-9D52-D042135427E2}" dt="2023-11-16T12:22:07.625" v="1370" actId="20577"/>
          <ac:spMkLst>
            <pc:docMk/>
            <pc:sldMk cId="2884824692" sldId="334"/>
            <ac:spMk id="8" creationId="{9974A259-DC86-27AE-073B-E1B517848965}"/>
          </ac:spMkLst>
        </pc:spChg>
        <pc:graphicFrameChg chg="mod">
          <ac:chgData name="Tobias Brammer" userId="80a1e1bd-3b82-47a5-b259-da62a397db92" providerId="ADAL" clId="{4309C268-4C5E-44FD-9D52-D042135427E2}" dt="2023-11-16T12:16:52.432" v="803"/>
          <ac:graphicFrameMkLst>
            <pc:docMk/>
            <pc:sldMk cId="2884824692" sldId="334"/>
            <ac:graphicFrameMk id="4" creationId="{79C05AFC-9555-D40C-AD9D-3E13BD0A4FC2}"/>
          </ac:graphicFrameMkLst>
        </pc:graphicFrameChg>
        <pc:picChg chg="mod">
          <ac:chgData name="Tobias Brammer" userId="80a1e1bd-3b82-47a5-b259-da62a397db92" providerId="ADAL" clId="{4309C268-4C5E-44FD-9D52-D042135427E2}" dt="2023-11-16T12:17:24.341" v="880" actId="14826"/>
          <ac:picMkLst>
            <pc:docMk/>
            <pc:sldMk cId="2884824692" sldId="334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4309C268-4C5E-44FD-9D52-D042135427E2}" dt="2023-11-16T12:22:33.820" v="1389" actId="20577"/>
        <pc:sldMkLst>
          <pc:docMk/>
          <pc:sldMk cId="2191927288" sldId="335"/>
        </pc:sldMkLst>
        <pc:spChg chg="mod">
          <ac:chgData name="Tobias Brammer" userId="80a1e1bd-3b82-47a5-b259-da62a397db92" providerId="ADAL" clId="{4309C268-4C5E-44FD-9D52-D042135427E2}" dt="2023-11-16T12:22:33.820" v="1389" actId="20577"/>
          <ac:spMkLst>
            <pc:docMk/>
            <pc:sldMk cId="2191927288" sldId="335"/>
            <ac:spMk id="8" creationId="{9974A259-DC86-27AE-073B-E1B517848965}"/>
          </ac:spMkLst>
        </pc:spChg>
      </pc:sldChg>
      <pc:sldChg chg="delSp modSp add del mod ord">
        <pc:chgData name="Tobias Brammer" userId="80a1e1bd-3b82-47a5-b259-da62a397db92" providerId="ADAL" clId="{4309C268-4C5E-44FD-9D52-D042135427E2}" dt="2023-11-16T13:27:02.165" v="1955" actId="47"/>
        <pc:sldMkLst>
          <pc:docMk/>
          <pc:sldMk cId="1467067792" sldId="336"/>
        </pc:sldMkLst>
        <pc:spChg chg="mod">
          <ac:chgData name="Tobias Brammer" userId="80a1e1bd-3b82-47a5-b259-da62a397db92" providerId="ADAL" clId="{4309C268-4C5E-44FD-9D52-D042135427E2}" dt="2023-11-16T12:23:51.028" v="1425" actId="948"/>
          <ac:spMkLst>
            <pc:docMk/>
            <pc:sldMk cId="1467067792" sldId="336"/>
            <ac:spMk id="2" creationId="{F7A7B11F-5560-4450-B29C-AA36EE47DBD5}"/>
          </ac:spMkLst>
        </pc:spChg>
        <pc:spChg chg="mod">
          <ac:chgData name="Tobias Brammer" userId="80a1e1bd-3b82-47a5-b259-da62a397db92" providerId="ADAL" clId="{4309C268-4C5E-44FD-9D52-D042135427E2}" dt="2023-11-16T12:25:31.912" v="1567" actId="20577"/>
          <ac:spMkLst>
            <pc:docMk/>
            <pc:sldMk cId="1467067792" sldId="336"/>
            <ac:spMk id="8" creationId="{9974A259-DC86-27AE-073B-E1B517848965}"/>
          </ac:spMkLst>
        </pc:spChg>
        <pc:graphicFrameChg chg="mod">
          <ac:chgData name="Tobias Brammer" userId="80a1e1bd-3b82-47a5-b259-da62a397db92" providerId="ADAL" clId="{4309C268-4C5E-44FD-9D52-D042135427E2}" dt="2023-11-16T12:23:51.038" v="1429"/>
          <ac:graphicFrameMkLst>
            <pc:docMk/>
            <pc:sldMk cId="1467067792" sldId="336"/>
            <ac:graphicFrameMk id="4" creationId="{79C05AFC-9555-D40C-AD9D-3E13BD0A4FC2}"/>
          </ac:graphicFrameMkLst>
        </pc:graphicFrameChg>
        <pc:picChg chg="del mod replST">
          <ac:chgData name="Tobias Brammer" userId="80a1e1bd-3b82-47a5-b259-da62a397db92" providerId="ADAL" clId="{4309C268-4C5E-44FD-9D52-D042135427E2}" dt="2023-11-16T12:26:19.349" v="1594" actId="21"/>
          <ac:picMkLst>
            <pc:docMk/>
            <pc:sldMk cId="1467067792" sldId="336"/>
            <ac:picMk id="5" creationId="{84D7B3FD-E68C-D976-B120-BBFBAA8FD31D}"/>
          </ac:picMkLst>
        </pc:picChg>
        <pc:picChg chg="del mod">
          <ac:chgData name="Tobias Brammer" userId="80a1e1bd-3b82-47a5-b259-da62a397db92" providerId="ADAL" clId="{4309C268-4C5E-44FD-9D52-D042135427E2}" dt="2023-11-16T13:26:53.898" v="1954" actId="478"/>
          <ac:picMkLst>
            <pc:docMk/>
            <pc:sldMk cId="1467067792" sldId="336"/>
            <ac:picMk id="12" creationId="{BC45735F-E063-4678-D02A-CBB56F461006}"/>
          </ac:picMkLst>
        </pc:picChg>
      </pc:sldChg>
    </pc:docChg>
  </pc:docChgLst>
  <pc:docChgLst>
    <pc:chgData name="Tobias Brammer" userId="80a1e1bd-3b82-47a5-b259-da62a397db92" providerId="ADAL" clId="{1E3A7C41-47CF-4BFD-8C66-533AAAACACA8}"/>
    <pc:docChg chg="undo custSel addSld delSld modSld sldOrd modMainMaster modSection replTag modNotesMaster modHandout">
      <pc:chgData name="Tobias Brammer" userId="80a1e1bd-3b82-47a5-b259-da62a397db92" providerId="ADAL" clId="{1E3A7C41-47CF-4BFD-8C66-533AAAACACA8}" dt="2023-03-30T05:58:54.259" v="10631" actId="20577"/>
      <pc:docMkLst>
        <pc:docMk/>
      </pc:docMkLst>
      <pc:sldChg chg="delSp modSp del mod ord modNotes">
        <pc:chgData name="Tobias Brammer" userId="80a1e1bd-3b82-47a5-b259-da62a397db92" providerId="ADAL" clId="{1E3A7C41-47CF-4BFD-8C66-533AAAACACA8}" dt="2023-03-07T06:51:25.444" v="8891" actId="47"/>
        <pc:sldMkLst>
          <pc:docMk/>
          <pc:sldMk cId="1005211075" sldId="262"/>
        </pc:sldMkLst>
        <pc:spChg chg="mod">
          <ac:chgData name="Tobias Brammer" userId="80a1e1bd-3b82-47a5-b259-da62a397db92" providerId="ADAL" clId="{1E3A7C41-47CF-4BFD-8C66-533AAAACACA8}" dt="2023-02-28T05:57:37.396" v="1586" actId="948"/>
          <ac:spMkLst>
            <pc:docMk/>
            <pc:sldMk cId="1005211075" sldId="262"/>
            <ac:spMk id="2" creationId="{2A4596F9-FF12-4BF0-8843-C701E1DB0BAB}"/>
          </ac:spMkLst>
        </pc:spChg>
        <pc:spChg chg="del mod modVis">
          <ac:chgData name="Tobias Brammer" userId="80a1e1bd-3b82-47a5-b259-da62a397db92" providerId="ADAL" clId="{1E3A7C41-47CF-4BFD-8C66-533AAAACACA8}" dt="2023-02-28T05:57:37.796" v="1870" actId="478"/>
          <ac:spMkLst>
            <pc:docMk/>
            <pc:sldMk cId="1005211075" sldId="262"/>
            <ac:spMk id="3" creationId="{6D139B86-1881-A8BB-D7B5-BABBA0505B95}"/>
          </ac:spMkLst>
        </pc:spChg>
        <pc:spChg chg="mod">
          <ac:chgData name="Tobias Brammer" userId="80a1e1bd-3b82-47a5-b259-da62a397db92" providerId="ADAL" clId="{1E3A7C41-47CF-4BFD-8C66-533AAAACACA8}" dt="2023-02-28T05:57:36.268" v="576" actId="20577"/>
          <ac:spMkLst>
            <pc:docMk/>
            <pc:sldMk cId="1005211075" sldId="262"/>
            <ac:spMk id="8" creationId="{F97827C5-D366-43A9-BC56-60449466C60F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27" v="1878" actId="1076"/>
          <ac:graphicFrameMkLst>
            <pc:docMk/>
            <pc:sldMk cId="1005211075" sldId="262"/>
            <ac:graphicFrameMk id="4" creationId="{7EDD2181-28F2-62F9-AD4A-846375F1E999}"/>
          </ac:graphicFrameMkLst>
        </pc:graphicFrameChg>
      </pc:sldChg>
      <pc:sldChg chg="addSp delSp modSp del mod ord modNotes">
        <pc:chgData name="Tobias Brammer" userId="80a1e1bd-3b82-47a5-b259-da62a397db92" providerId="ADAL" clId="{1E3A7C41-47CF-4BFD-8C66-533AAAACACA8}" dt="2023-02-28T07:04:06.108" v="6348" actId="2696"/>
        <pc:sldMkLst>
          <pc:docMk/>
          <pc:sldMk cId="2416407837" sldId="270"/>
        </pc:sldMkLst>
        <pc:spChg chg="mod">
          <ac:chgData name="Tobias Brammer" userId="80a1e1bd-3b82-47a5-b259-da62a397db92" providerId="ADAL" clId="{1E3A7C41-47CF-4BFD-8C66-533AAAACACA8}" dt="2023-02-28T06:09:18.946" v="3422" actId="20577"/>
          <ac:spMkLst>
            <pc:docMk/>
            <pc:sldMk cId="2416407837" sldId="270"/>
            <ac:spMk id="2" creationId="{DB8BCC98-68C8-4EB4-853E-B372C26EBCFF}"/>
          </ac:spMkLst>
        </pc:spChg>
        <pc:spChg chg="del mod modVis">
          <ac:chgData name="Tobias Brammer" userId="80a1e1bd-3b82-47a5-b259-da62a397db92" providerId="ADAL" clId="{1E3A7C41-47CF-4BFD-8C66-533AAAACACA8}" dt="2023-02-28T05:57:37.780" v="1860" actId="478"/>
          <ac:spMkLst>
            <pc:docMk/>
            <pc:sldMk cId="2416407837" sldId="270"/>
            <ac:spMk id="3" creationId="{3E029A14-FE81-B591-2A18-9B69301BB320}"/>
          </ac:spMkLst>
        </pc:spChg>
        <pc:spChg chg="del">
          <ac:chgData name="Tobias Brammer" userId="80a1e1bd-3b82-47a5-b259-da62a397db92" providerId="ADAL" clId="{1E3A7C41-47CF-4BFD-8C66-533AAAACACA8}" dt="2023-02-21T13:33:10.631" v="31" actId="478"/>
          <ac:spMkLst>
            <pc:docMk/>
            <pc:sldMk cId="2416407837" sldId="270"/>
            <ac:spMk id="4" creationId="{52BB0FB5-3FC8-4D76-9569-B90FAFC16986}"/>
          </ac:spMkLst>
        </pc:spChg>
        <pc:spChg chg="add del mod">
          <ac:chgData name="Tobias Brammer" userId="80a1e1bd-3b82-47a5-b259-da62a397db92" providerId="ADAL" clId="{1E3A7C41-47CF-4BFD-8C66-533AAAACACA8}" dt="2023-02-28T06:09:19.479" v="3426"/>
          <ac:spMkLst>
            <pc:docMk/>
            <pc:sldMk cId="2416407837" sldId="270"/>
            <ac:spMk id="5" creationId="{6AA27CE0-BD28-73B1-1F94-7BFE83D4E410}"/>
          </ac:spMkLst>
        </pc:spChg>
        <pc:spChg chg="mod">
          <ac:chgData name="Tobias Brammer" userId="80a1e1bd-3b82-47a5-b259-da62a397db92" providerId="ADAL" clId="{1E3A7C41-47CF-4BFD-8C66-533AAAACACA8}" dt="2023-02-28T05:57:36.284" v="586" actId="947"/>
          <ac:spMkLst>
            <pc:docMk/>
            <pc:sldMk cId="2416407837" sldId="270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2-28T05:57:36.284" v="588" actId="947"/>
          <ac:spMkLst>
            <pc:docMk/>
            <pc:sldMk cId="2416407837" sldId="270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2-28T05:57:36.284" v="590" actId="947"/>
          <ac:spMkLst>
            <pc:docMk/>
            <pc:sldMk cId="2416407837" sldId="270"/>
            <ac:spMk id="8" creationId="{A26BD07B-B36A-46BD-8B09-8347D40D54E4}"/>
          </ac:spMkLst>
        </pc:spChg>
        <pc:spChg chg="mod">
          <ac:chgData name="Tobias Brammer" userId="80a1e1bd-3b82-47a5-b259-da62a397db92" providerId="ADAL" clId="{1E3A7C41-47CF-4BFD-8C66-533AAAACACA8}" dt="2023-02-28T05:57:36.284" v="592" actId="947"/>
          <ac:spMkLst>
            <pc:docMk/>
            <pc:sldMk cId="2416407837" sldId="270"/>
            <ac:spMk id="9" creationId="{7A55C507-1CA4-403F-85AA-068A599400B3}"/>
          </ac:spMkLst>
        </pc:spChg>
        <pc:spChg chg="mod">
          <ac:chgData name="Tobias Brammer" userId="80a1e1bd-3b82-47a5-b259-da62a397db92" providerId="ADAL" clId="{1E3A7C41-47CF-4BFD-8C66-533AAAACACA8}" dt="2023-02-28T05:57:36.284" v="594" actId="947"/>
          <ac:spMkLst>
            <pc:docMk/>
            <pc:sldMk cId="2416407837" sldId="270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2-28T05:57:36.284" v="596" actId="947"/>
          <ac:spMkLst>
            <pc:docMk/>
            <pc:sldMk cId="2416407837" sldId="270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2-28T05:57:36.284" v="598" actId="947"/>
          <ac:spMkLst>
            <pc:docMk/>
            <pc:sldMk cId="2416407837" sldId="270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2-28T05:57:36.284" v="600" actId="947"/>
          <ac:spMkLst>
            <pc:docMk/>
            <pc:sldMk cId="2416407837" sldId="270"/>
            <ac:spMk id="13" creationId="{E13D7B49-6DD3-43C3-9A2E-E2BA90A74A41}"/>
          </ac:spMkLst>
        </pc:spChg>
        <pc:graphicFrameChg chg="mod ord modVis replST">
          <ac:chgData name="Tobias Brammer" userId="80a1e1bd-3b82-47a5-b259-da62a397db92" providerId="ADAL" clId="{1E3A7C41-47CF-4BFD-8C66-533AAAACACA8}" dt="2023-02-28T06:09:19.479" v="3426"/>
          <ac:graphicFrameMkLst>
            <pc:docMk/>
            <pc:sldMk cId="2416407837" sldId="270"/>
            <ac:graphicFrameMk id="4" creationId="{DA4F5744-822E-272D-9EB9-E4CFFB864E67}"/>
          </ac:graphicFrameMkLst>
        </pc:graphicFrameChg>
      </pc:sldChg>
      <pc:sldChg chg="addSp delSp modSp mod ord modNotes">
        <pc:chgData name="Tobias Brammer" userId="80a1e1bd-3b82-47a5-b259-da62a397db92" providerId="ADAL" clId="{1E3A7C41-47CF-4BFD-8C66-533AAAACACA8}" dt="2023-03-07T06:54:13.648" v="8928"/>
        <pc:sldMkLst>
          <pc:docMk/>
          <pc:sldMk cId="2641621532" sldId="281"/>
        </pc:sldMkLst>
        <pc:spChg chg="mod">
          <ac:chgData name="Tobias Brammer" userId="80a1e1bd-3b82-47a5-b259-da62a397db92" providerId="ADAL" clId="{1E3A7C41-47CF-4BFD-8C66-533AAAACACA8}" dt="2023-03-07T06:54:13.645" v="8924" actId="948"/>
          <ac:spMkLst>
            <pc:docMk/>
            <pc:sldMk cId="2641621532" sldId="281"/>
            <ac:spMk id="2" creationId="{3C6F285B-6BE8-47BE-BAD4-8ACEEFC175A8}"/>
          </ac:spMkLst>
        </pc:spChg>
        <pc:spChg chg="del">
          <ac:chgData name="Tobias Brammer" userId="80a1e1bd-3b82-47a5-b259-da62a397db92" providerId="ADAL" clId="{1E3A7C41-47CF-4BFD-8C66-533AAAACACA8}" dt="2023-02-21T13:33:06.886" v="30" actId="478"/>
          <ac:spMkLst>
            <pc:docMk/>
            <pc:sldMk cId="2641621532" sldId="281"/>
            <ac:spMk id="4" creationId="{EBB902A7-6EFB-4DB5-B7D9-D27AE5B7B1F6}"/>
          </ac:spMkLst>
        </pc:spChg>
        <pc:spChg chg="mod">
          <ac:chgData name="Tobias Brammer" userId="80a1e1bd-3b82-47a5-b259-da62a397db92" providerId="ADAL" clId="{1E3A7C41-47CF-4BFD-8C66-533AAAACACA8}" dt="2023-02-28T05:57:36.253" v="548" actId="947"/>
          <ac:spMkLst>
            <pc:docMk/>
            <pc:sldMk cId="2641621532" sldId="281"/>
            <ac:spMk id="6" creationId="{CDC222EA-31E5-4543-973D-6351289EEE35}"/>
          </ac:spMkLst>
        </pc:spChg>
        <pc:spChg chg="mod">
          <ac:chgData name="Tobias Brammer" userId="80a1e1bd-3b82-47a5-b259-da62a397db92" providerId="ADAL" clId="{1E3A7C41-47CF-4BFD-8C66-533AAAACACA8}" dt="2023-02-28T05:57:36.253" v="550" actId="947"/>
          <ac:spMkLst>
            <pc:docMk/>
            <pc:sldMk cId="2641621532" sldId="281"/>
            <ac:spMk id="7" creationId="{F787AB7F-95DA-4686-8C4E-D8E93F97EFAD}"/>
          </ac:spMkLst>
        </pc:spChg>
        <pc:spChg chg="mod">
          <ac:chgData name="Tobias Brammer" userId="80a1e1bd-3b82-47a5-b259-da62a397db92" providerId="ADAL" clId="{1E3A7C41-47CF-4BFD-8C66-533AAAACACA8}" dt="2023-02-28T07:05:37.784" v="6396" actId="20577"/>
          <ac:spMkLst>
            <pc:docMk/>
            <pc:sldMk cId="2641621532" sldId="281"/>
            <ac:spMk id="8" creationId="{8E492FCB-C2C0-467D-A668-B1FD59DC4F32}"/>
          </ac:spMkLst>
        </pc:spChg>
        <pc:spChg chg="mod">
          <ac:chgData name="Tobias Brammer" userId="80a1e1bd-3b82-47a5-b259-da62a397db92" providerId="ADAL" clId="{1E3A7C41-47CF-4BFD-8C66-533AAAACACA8}" dt="2023-02-28T05:57:36.253" v="554" actId="947"/>
          <ac:spMkLst>
            <pc:docMk/>
            <pc:sldMk cId="2641621532" sldId="281"/>
            <ac:spMk id="9" creationId="{8140DF04-B4DC-4986-9C6D-DDE15FD1CA31}"/>
          </ac:spMkLst>
        </pc:spChg>
        <pc:spChg chg="mod">
          <ac:chgData name="Tobias Brammer" userId="80a1e1bd-3b82-47a5-b259-da62a397db92" providerId="ADAL" clId="{1E3A7C41-47CF-4BFD-8C66-533AAAACACA8}" dt="2023-02-28T06:07:37.581" v="3102" actId="20577"/>
          <ac:spMkLst>
            <pc:docMk/>
            <pc:sldMk cId="2641621532" sldId="281"/>
            <ac:spMk id="10" creationId="{CBA4467F-4AF6-4FDA-A3A1-6FFF686B5694}"/>
          </ac:spMkLst>
        </pc:spChg>
        <pc:spChg chg="mod">
          <ac:chgData name="Tobias Brammer" userId="80a1e1bd-3b82-47a5-b259-da62a397db92" providerId="ADAL" clId="{1E3A7C41-47CF-4BFD-8C66-533AAAACACA8}" dt="2023-02-28T05:57:36.253" v="558" actId="947"/>
          <ac:spMkLst>
            <pc:docMk/>
            <pc:sldMk cId="2641621532" sldId="281"/>
            <ac:spMk id="11" creationId="{8EF3D609-41B5-4A56-8942-7DC08C4DC25A}"/>
          </ac:spMkLst>
        </pc:spChg>
        <pc:spChg chg="mod">
          <ac:chgData name="Tobias Brammer" userId="80a1e1bd-3b82-47a5-b259-da62a397db92" providerId="ADAL" clId="{1E3A7C41-47CF-4BFD-8C66-533AAAACACA8}" dt="2023-02-28T06:07:42.828" v="3106" actId="20577"/>
          <ac:spMkLst>
            <pc:docMk/>
            <pc:sldMk cId="2641621532" sldId="281"/>
            <ac:spMk id="12" creationId="{702BF8D8-1F1E-4939-B5E8-A6D1C6691326}"/>
          </ac:spMkLst>
        </pc:spChg>
        <pc:spChg chg="mod">
          <ac:chgData name="Tobias Brammer" userId="80a1e1bd-3b82-47a5-b259-da62a397db92" providerId="ADAL" clId="{1E3A7C41-47CF-4BFD-8C66-533AAAACACA8}" dt="2023-02-28T05:57:36.268" v="562" actId="947"/>
          <ac:spMkLst>
            <pc:docMk/>
            <pc:sldMk cId="2641621532" sldId="281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1E3A7C41-47CF-4BFD-8C66-533AAAACACA8}" dt="2023-02-28T07:03:50.420" v="6345" actId="478"/>
          <ac:spMkLst>
            <pc:docMk/>
            <pc:sldMk cId="2641621532" sldId="281"/>
            <ac:spMk id="14" creationId="{E1A4E241-A20B-4422-B08B-8F6558C9C741}"/>
          </ac:spMkLst>
        </pc:spChg>
        <pc:spChg chg="del mod">
          <ac:chgData name="Tobias Brammer" userId="80a1e1bd-3b82-47a5-b259-da62a397db92" providerId="ADAL" clId="{1E3A7C41-47CF-4BFD-8C66-533AAAACACA8}" dt="2023-02-28T07:03:52.350" v="6346" actId="478"/>
          <ac:spMkLst>
            <pc:docMk/>
            <pc:sldMk cId="2641621532" sldId="281"/>
            <ac:spMk id="15" creationId="{07E887EC-95BD-446F-AA42-026332C0EADF}"/>
          </ac:spMkLst>
        </pc:spChg>
        <pc:graphicFrameChg chg="add mod ord modVis replST">
          <ac:chgData name="Tobias Brammer" userId="80a1e1bd-3b82-47a5-b259-da62a397db92" providerId="ADAL" clId="{1E3A7C41-47CF-4BFD-8C66-533AAAACACA8}" dt="2023-03-07T06:54:13.648" v="8928"/>
          <ac:graphicFrameMkLst>
            <pc:docMk/>
            <pc:sldMk cId="2641621532" sldId="281"/>
            <ac:graphicFrameMk id="3" creationId="{AB86B848-EDE9-F4A9-108A-F58D243B51C5}"/>
          </ac:graphicFrameMkLst>
        </pc:graphicFrameChg>
      </pc:sldChg>
      <pc:sldChg chg="addSp delSp modSp mod modNotes">
        <pc:chgData name="Tobias Brammer" userId="80a1e1bd-3b82-47a5-b259-da62a397db92" providerId="ADAL" clId="{1E3A7C41-47CF-4BFD-8C66-533AAAACACA8}" dt="2023-03-02T06:39:57.001" v="6399" actId="20577"/>
        <pc:sldMkLst>
          <pc:docMk/>
          <pc:sldMk cId="1982481699" sldId="305"/>
        </pc:sldMkLst>
        <pc:spChg chg="add del mod modVis">
          <ac:chgData name="Tobias Brammer" userId="80a1e1bd-3b82-47a5-b259-da62a397db92" providerId="ADAL" clId="{1E3A7C41-47CF-4BFD-8C66-533AAAACACA8}" dt="2023-02-28T05:55:53.780" v="390"/>
          <ac:spMkLst>
            <pc:docMk/>
            <pc:sldMk cId="1982481699" sldId="305"/>
            <ac:spMk id="3" creationId="{857A203A-B8DE-B90C-EDF5-31329242FC13}"/>
          </ac:spMkLst>
        </pc:spChg>
        <pc:spChg chg="del mod modVis">
          <ac:chgData name="Tobias Brammer" userId="80a1e1bd-3b82-47a5-b259-da62a397db92" providerId="ADAL" clId="{1E3A7C41-47CF-4BFD-8C66-533AAAACACA8}" dt="2023-02-28T05:57:37.780" v="1857" actId="478"/>
          <ac:spMkLst>
            <pc:docMk/>
            <pc:sldMk cId="1982481699" sldId="305"/>
            <ac:spMk id="4" creationId="{0ECBD42B-5506-8B77-3BE7-D1844CA095BE}"/>
          </ac:spMkLst>
        </pc:spChg>
        <pc:spChg chg="mod">
          <ac:chgData name="Tobias Brammer" userId="80a1e1bd-3b82-47a5-b259-da62a397db92" providerId="ADAL" clId="{1E3A7C41-47CF-4BFD-8C66-533AAAACACA8}" dt="2023-03-02T06:39:57.001" v="6399" actId="20577"/>
          <ac:spMkLst>
            <pc:docMk/>
            <pc:sldMk cId="1982481699" sldId="305"/>
            <ac:spMk id="7" creationId="{0B924460-1A6C-4030-8DE0-387B74186E08}"/>
          </ac:spMkLst>
        </pc:spChg>
        <pc:spChg chg="mod">
          <ac:chgData name="Tobias Brammer" userId="80a1e1bd-3b82-47a5-b259-da62a397db92" providerId="ADAL" clId="{1E3A7C41-47CF-4BFD-8C66-533AAAACACA8}" dt="2023-02-28T05:57:36.253" v="544" actId="20577"/>
          <ac:spMkLst>
            <pc:docMk/>
            <pc:sldMk cId="1982481699" sldId="305"/>
            <ac:spMk id="8" creationId="{08D4D0AD-0A75-4D15-8D92-457BD4B8F7BE}"/>
          </ac:spMkLst>
        </pc:spChg>
        <pc:spChg chg="mod">
          <ac:chgData name="Tobias Brammer" userId="80a1e1bd-3b82-47a5-b259-da62a397db92" providerId="ADAL" clId="{1E3A7C41-47CF-4BFD-8C66-533AAAACACA8}" dt="2023-02-28T05:57:37.349" v="1512" actId="948"/>
          <ac:spMkLst>
            <pc:docMk/>
            <pc:sldMk cId="1982481699" sldId="305"/>
            <ac:spMk id="54" creationId="{80FB860F-3E3A-43EB-B273-14B2246A3D66}"/>
          </ac:spMkLst>
        </pc:spChg>
        <pc:graphicFrameChg chg="mod">
          <ac:chgData name="Tobias Brammer" userId="80a1e1bd-3b82-47a5-b259-da62a397db92" providerId="ADAL" clId="{1E3A7C41-47CF-4BFD-8C66-533AAAACACA8}" dt="2023-02-28T05:57:37.780" v="1858" actId="1076"/>
          <ac:graphicFrameMkLst>
            <pc:docMk/>
            <pc:sldMk cId="1982481699" sldId="305"/>
            <ac:graphicFrameMk id="2" creationId="{3C5B1A34-4CF2-0504-3BE2-26A1E21AF65D}"/>
          </ac:graphicFrameMkLst>
        </pc:graphicFrameChg>
      </pc:sldChg>
      <pc:sldChg chg="delSp modSp del mod modTransition modShow modNotes">
        <pc:chgData name="Tobias Brammer" userId="80a1e1bd-3b82-47a5-b259-da62a397db92" providerId="ADAL" clId="{1E3A7C41-47CF-4BFD-8C66-533AAAACACA8}" dt="2023-03-07T06:51:26.278" v="8892" actId="47"/>
        <pc:sldMkLst>
          <pc:docMk/>
          <pc:sldMk cId="3556110710" sldId="307"/>
        </pc:sldMkLst>
        <pc:spChg chg="mod">
          <ac:chgData name="Tobias Brammer" userId="80a1e1bd-3b82-47a5-b259-da62a397db92" providerId="ADAL" clId="{1E3A7C41-47CF-4BFD-8C66-533AAAACACA8}" dt="2023-02-28T05:57:37.411" v="1622" actId="948"/>
          <ac:spMkLst>
            <pc:docMk/>
            <pc:sldMk cId="3556110710" sldId="307"/>
            <ac:spMk id="2" creationId="{F7A7B11F-5560-4450-B29C-AA36EE47DBD5}"/>
          </ac:spMkLst>
        </pc:spChg>
        <pc:spChg chg="del mod modVis">
          <ac:chgData name="Tobias Brammer" userId="80a1e1bd-3b82-47a5-b259-da62a397db92" providerId="ADAL" clId="{1E3A7C41-47CF-4BFD-8C66-533AAAACACA8}" dt="2023-02-28T05:57:37.827" v="1879" actId="478"/>
          <ac:spMkLst>
            <pc:docMk/>
            <pc:sldMk cId="3556110710" sldId="307"/>
            <ac:spMk id="3" creationId="{FA3C389B-50E0-F2D8-8A1E-95EEA103AAFC}"/>
          </ac:spMkLst>
        </pc:spChg>
        <pc:spChg chg="mod">
          <ac:chgData name="Tobias Brammer" userId="80a1e1bd-3b82-47a5-b259-da62a397db92" providerId="ADAL" clId="{1E3A7C41-47CF-4BFD-8C66-533AAAACACA8}" dt="2023-02-28T05:57:36.268" v="582" actId="20577"/>
          <ac:spMkLst>
            <pc:docMk/>
            <pc:sldMk cId="3556110710" sldId="307"/>
            <ac:spMk id="6" creationId="{8FC4456C-8838-4F8B-8B1E-95CBD5B2E38B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42" v="1887" actId="1076"/>
          <ac:graphicFrameMkLst>
            <pc:docMk/>
            <pc:sldMk cId="3556110710" sldId="307"/>
            <ac:graphicFrameMk id="4" creationId="{79C05AFC-9555-D40C-AD9D-3E13BD0A4FC2}"/>
          </ac:graphicFrameMkLst>
        </pc:graphicFrameChg>
      </pc:sldChg>
      <pc:sldChg chg="addSp modSp add mod ord modNotes">
        <pc:chgData name="Tobias Brammer" userId="80a1e1bd-3b82-47a5-b259-da62a397db92" providerId="ADAL" clId="{1E3A7C41-47CF-4BFD-8C66-533AAAACACA8}" dt="2023-03-08T18:48:53.556" v="9431" actId="20577"/>
        <pc:sldMkLst>
          <pc:docMk/>
          <pc:sldMk cId="2678748836" sldId="308"/>
        </pc:sldMkLst>
        <pc:spChg chg="mod">
          <ac:chgData name="Tobias Brammer" userId="80a1e1bd-3b82-47a5-b259-da62a397db92" providerId="ADAL" clId="{1E3A7C41-47CF-4BFD-8C66-533AAAACACA8}" dt="2023-02-28T05:57:37.380" v="1548" actId="948"/>
          <ac:spMkLst>
            <pc:docMk/>
            <pc:sldMk cId="2678748836" sldId="308"/>
            <ac:spMk id="2" creationId="{F7A7B11F-5560-4450-B29C-AA36EE47DBD5}"/>
          </ac:spMkLst>
        </pc:spChg>
        <pc:spChg chg="mod">
          <ac:chgData name="Tobias Brammer" userId="80a1e1bd-3b82-47a5-b259-da62a397db92" providerId="ADAL" clId="{1E3A7C41-47CF-4BFD-8C66-533AAAACACA8}" dt="2023-03-08T18:48:53.556" v="9431" actId="20577"/>
          <ac:spMkLst>
            <pc:docMk/>
            <pc:sldMk cId="2678748836" sldId="308"/>
            <ac:spMk id="6" creationId="{8FC4456C-8838-4F8B-8B1E-95CBD5B2E38B}"/>
          </ac:spMkLst>
        </pc:spChg>
        <pc:graphicFrameChg chg="add mod ord modVis replST">
          <ac:chgData name="Tobias Brammer" userId="80a1e1bd-3b82-47a5-b259-da62a397db92" providerId="ADAL" clId="{1E3A7C41-47CF-4BFD-8C66-533AAAACACA8}" dt="2023-02-28T05:57:37.780" v="1859" actId="1076"/>
          <ac:graphicFrameMkLst>
            <pc:docMk/>
            <pc:sldMk cId="2678748836" sldId="308"/>
            <ac:graphicFrameMk id="3" creationId="{C25CA449-E3EB-0DD4-6908-6F7AA75DB9C8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30T05:58:54.259" v="10631" actId="20577"/>
        <pc:sldMkLst>
          <pc:docMk/>
          <pc:sldMk cId="2492524537" sldId="309"/>
        </pc:sldMkLst>
        <pc:spChg chg="mod">
          <ac:chgData name="Tobias Brammer" userId="80a1e1bd-3b82-47a5-b259-da62a397db92" providerId="ADAL" clId="{1E3A7C41-47CF-4BFD-8C66-533AAAACACA8}" dt="2023-02-28T06:08:00.168" v="3114" actId="948"/>
          <ac:spMkLst>
            <pc:docMk/>
            <pc:sldMk cId="2492524537" sldId="309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00.199" v="3155"/>
          <ac:spMkLst>
            <pc:docMk/>
            <pc:sldMk cId="2492524537" sldId="309"/>
            <ac:spMk id="3" creationId="{74267DD0-600C-34A8-916D-28F360D85225}"/>
          </ac:spMkLst>
        </pc:spChg>
        <pc:spChg chg="add mod">
          <ac:chgData name="Tobias Brammer" userId="80a1e1bd-3b82-47a5-b259-da62a397db92" providerId="ADAL" clId="{1E3A7C41-47CF-4BFD-8C66-533AAAACACA8}" dt="2023-03-08T19:00:49.497" v="10374" actId="20577"/>
          <ac:spMkLst>
            <pc:docMk/>
            <pc:sldMk cId="2492524537" sldId="309"/>
            <ac:spMk id="3" creationId="{DBBA62F8-ABAB-0796-5D4F-277CA4383CB2}"/>
          </ac:spMkLst>
        </pc:spChg>
        <pc:spChg chg="add mod">
          <ac:chgData name="Tobias Brammer" userId="80a1e1bd-3b82-47a5-b259-da62a397db92" providerId="ADAL" clId="{1E3A7C41-47CF-4BFD-8C66-533AAAACACA8}" dt="2023-03-08T18:59:25.619" v="10267" actId="20577"/>
          <ac:spMkLst>
            <pc:docMk/>
            <pc:sldMk cId="2492524537" sldId="309"/>
            <ac:spMk id="5" creationId="{0256447C-D35F-4F86-D90B-E90F6B46AE7F}"/>
          </ac:spMkLst>
        </pc:spChg>
        <pc:spChg chg="mod">
          <ac:chgData name="Tobias Brammer" userId="80a1e1bd-3b82-47a5-b259-da62a397db92" providerId="ADAL" clId="{1E3A7C41-47CF-4BFD-8C66-533AAAACACA8}" dt="2023-03-30T05:58:54.259" v="10631" actId="20577"/>
          <ac:spMkLst>
            <pc:docMk/>
            <pc:sldMk cId="2492524537" sldId="309"/>
            <ac:spMk id="6" creationId="{8FC4456C-8838-4F8B-8B1E-95CBD5B2E38B}"/>
          </ac:spMkLst>
        </pc:spChg>
        <pc:graphicFrameChg chg="mod">
          <ac:chgData name="Tobias Brammer" userId="80a1e1bd-3b82-47a5-b259-da62a397db92" providerId="ADAL" clId="{1E3A7C41-47CF-4BFD-8C66-533AAAACACA8}" dt="2023-02-28T06:08:00.199" v="3157"/>
          <ac:graphicFrameMkLst>
            <pc:docMk/>
            <pc:sldMk cId="2492524537" sldId="309"/>
            <ac:graphicFrameMk id="4" creationId="{79C05AFC-9555-D40C-AD9D-3E13BD0A4FC2}"/>
          </ac:graphicFrameMkLst>
        </pc:graphicFrameChg>
      </pc:sldChg>
      <pc:sldChg chg="addSp delSp modSp add del mod ord">
        <pc:chgData name="Tobias Brammer" userId="80a1e1bd-3b82-47a5-b259-da62a397db92" providerId="ADAL" clId="{1E3A7C41-47CF-4BFD-8C66-533AAAACACA8}" dt="2023-02-28T06:36:57.276" v="5393" actId="47"/>
        <pc:sldMkLst>
          <pc:docMk/>
          <pc:sldMk cId="1870312031" sldId="310"/>
        </pc:sldMkLst>
        <pc:spChg chg="mod">
          <ac:chgData name="Tobias Brammer" userId="80a1e1bd-3b82-47a5-b259-da62a397db92" providerId="ADAL" clId="{1E3A7C41-47CF-4BFD-8C66-533AAAACACA8}" dt="2023-02-28T06:08:11.113" v="3182" actId="948"/>
          <ac:spMkLst>
            <pc:docMk/>
            <pc:sldMk cId="1870312031" sldId="310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11.144" v="3223"/>
          <ac:spMkLst>
            <pc:docMk/>
            <pc:sldMk cId="1870312031" sldId="310"/>
            <ac:spMk id="3" creationId="{2B041E51-2461-474E-11BD-7A8AC81EE1E6}"/>
          </ac:spMkLst>
        </pc:spChg>
        <pc:graphicFrameChg chg="mod">
          <ac:chgData name="Tobias Brammer" userId="80a1e1bd-3b82-47a5-b259-da62a397db92" providerId="ADAL" clId="{1E3A7C41-47CF-4BFD-8C66-533AAAACACA8}" dt="2023-02-28T06:08:11.144" v="3225"/>
          <ac:graphicFrameMkLst>
            <pc:docMk/>
            <pc:sldMk cId="1870312031" sldId="310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06:38.848" v="10486" actId="20577"/>
        <pc:sldMkLst>
          <pc:docMk/>
          <pc:sldMk cId="3090062221" sldId="311"/>
        </pc:sldMkLst>
        <pc:spChg chg="mod">
          <ac:chgData name="Tobias Brammer" userId="80a1e1bd-3b82-47a5-b259-da62a397db92" providerId="ADAL" clId="{1E3A7C41-47CF-4BFD-8C66-533AAAACACA8}" dt="2023-02-28T06:08:25.446" v="3243" actId="948"/>
          <ac:spMkLst>
            <pc:docMk/>
            <pc:sldMk cId="3090062221" sldId="311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25.478" v="3284"/>
          <ac:spMkLst>
            <pc:docMk/>
            <pc:sldMk cId="3090062221" sldId="311"/>
            <ac:spMk id="3" creationId="{9C090687-E112-4A89-9E1F-84EC7C61D5BE}"/>
          </ac:spMkLst>
        </pc:spChg>
        <pc:spChg chg="mod">
          <ac:chgData name="Tobias Brammer" userId="80a1e1bd-3b82-47a5-b259-da62a397db92" providerId="ADAL" clId="{1E3A7C41-47CF-4BFD-8C66-533AAAACACA8}" dt="2023-03-08T19:06:38.848" v="10486" actId="20577"/>
          <ac:spMkLst>
            <pc:docMk/>
            <pc:sldMk cId="3090062221" sldId="311"/>
            <ac:spMk id="6" creationId="{8FC4456C-8838-4F8B-8B1E-95CBD5B2E38B}"/>
          </ac:spMkLst>
        </pc:spChg>
        <pc:spChg chg="add del mod">
          <ac:chgData name="Tobias Brammer" userId="80a1e1bd-3b82-47a5-b259-da62a397db92" providerId="ADAL" clId="{1E3A7C41-47CF-4BFD-8C66-533AAAACACA8}" dt="2023-03-07T06:34:15.626" v="8647" actId="478"/>
          <ac:spMkLst>
            <pc:docMk/>
            <pc:sldMk cId="3090062221" sldId="311"/>
            <ac:spMk id="7" creationId="{8278DBF7-FB37-80E4-88AD-07CAB4ADF21F}"/>
          </ac:spMkLst>
        </pc:spChg>
        <pc:grpChg chg="add del mod">
          <ac:chgData name="Tobias Brammer" userId="80a1e1bd-3b82-47a5-b259-da62a397db92" providerId="ADAL" clId="{1E3A7C41-47CF-4BFD-8C66-533AAAACACA8}" dt="2023-03-07T06:47:28.887" v="8863" actId="478"/>
          <ac:grpSpMkLst>
            <pc:docMk/>
            <pc:sldMk cId="3090062221" sldId="311"/>
            <ac:grpSpMk id="15" creationId="{84155CE7-CE7B-6794-3BDF-B45F6F41191A}"/>
          </ac:grpSpMkLst>
        </pc:grpChg>
        <pc:grpChg chg="add mod">
          <ac:chgData name="Tobias Brammer" userId="80a1e1bd-3b82-47a5-b259-da62a397db92" providerId="ADAL" clId="{1E3A7C41-47CF-4BFD-8C66-533AAAACACA8}" dt="2023-03-07T06:50:12.639" v="8889" actId="1076"/>
          <ac:grpSpMkLst>
            <pc:docMk/>
            <pc:sldMk cId="3090062221" sldId="311"/>
            <ac:grpSpMk id="23" creationId="{38285DF7-26A5-0B52-5D8A-45F17BF22272}"/>
          </ac:grpSpMkLst>
        </pc:grpChg>
        <pc:graphicFrameChg chg="add del mod">
          <ac:chgData name="Tobias Brammer" userId="80a1e1bd-3b82-47a5-b259-da62a397db92" providerId="ADAL" clId="{1E3A7C41-47CF-4BFD-8C66-533AAAACACA8}" dt="2023-03-07T06:34:10.475" v="8645" actId="478"/>
          <ac:graphicFrameMkLst>
            <pc:docMk/>
            <pc:sldMk cId="3090062221" sldId="311"/>
            <ac:graphicFrameMk id="3" creationId="{4029F1DC-CF89-2E77-8726-6C47BC99DC34}"/>
          </ac:graphicFrameMkLst>
        </pc:graphicFrameChg>
        <pc:graphicFrameChg chg="mod">
          <ac:chgData name="Tobias Brammer" userId="80a1e1bd-3b82-47a5-b259-da62a397db92" providerId="ADAL" clId="{1E3A7C41-47CF-4BFD-8C66-533AAAACACA8}" dt="2023-02-28T06:08:25.478" v="3286"/>
          <ac:graphicFrameMkLst>
            <pc:docMk/>
            <pc:sldMk cId="3090062221" sldId="311"/>
            <ac:graphicFrameMk id="4" creationId="{79C05AFC-9555-D40C-AD9D-3E13BD0A4FC2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1:31.357" v="8815" actId="478"/>
          <ac:graphicFrameMkLst>
            <pc:docMk/>
            <pc:sldMk cId="3090062221" sldId="311"/>
            <ac:graphicFrameMk id="5" creationId="{69CA4EEA-7C4D-39AC-AF26-DAD4D2D25EAA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06.125" v="8820" actId="478"/>
          <ac:graphicFrameMkLst>
            <pc:docMk/>
            <pc:sldMk cId="3090062221" sldId="311"/>
            <ac:graphicFrameMk id="8" creationId="{76CF5CBA-D2DD-34D9-FC91-845883B827DD}"/>
          </ac:graphicFrameMkLst>
        </pc:graphicFrameChg>
        <pc:graphicFrameChg chg="add mod topLvl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9" creationId="{D1559444-CA7D-43C0-1DE4-369F3173A80D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43.116" v="8827" actId="478"/>
          <ac:graphicFrameMkLst>
            <pc:docMk/>
            <pc:sldMk cId="3090062221" sldId="311"/>
            <ac:graphicFrameMk id="10" creationId="{E4D27B5D-AD38-F131-8B5F-04A4DCA54B0E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4.574" v="8872" actId="478"/>
          <ac:graphicFrameMkLst>
            <pc:docMk/>
            <pc:sldMk cId="3090062221" sldId="311"/>
            <ac:graphicFrameMk id="11" creationId="{A1A9EEA3-CF70-0746-9268-52E5213F26CB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5:19.491" v="8843" actId="478"/>
          <ac:graphicFrameMkLst>
            <pc:docMk/>
            <pc:sldMk cId="3090062221" sldId="311"/>
            <ac:graphicFrameMk id="12" creationId="{02AA1BF8-7A1D-F5CE-9BBE-12AEED4DC507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27.571" v="8862" actId="478"/>
          <ac:graphicFrameMkLst>
            <pc:docMk/>
            <pc:sldMk cId="3090062221" sldId="311"/>
            <ac:graphicFrameMk id="13" creationId="{1CE26004-2BFF-7BE5-24C8-818375EE2B85}"/>
          </ac:graphicFrameMkLst>
        </pc:graphicFrameChg>
        <pc:graphicFrameChg chg="add del mod topLvl">
          <ac:chgData name="Tobias Brammer" userId="80a1e1bd-3b82-47a5-b259-da62a397db92" providerId="ADAL" clId="{1E3A7C41-47CF-4BFD-8C66-533AAAACACA8}" dt="2023-03-07T06:47:28.887" v="8863" actId="478"/>
          <ac:graphicFrameMkLst>
            <pc:docMk/>
            <pc:sldMk cId="3090062221" sldId="311"/>
            <ac:graphicFrameMk id="14" creationId="{B6AFF7B3-635D-977B-A15E-3CBEBB440DE1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39.724" v="8866" actId="478"/>
          <ac:graphicFrameMkLst>
            <pc:docMk/>
            <pc:sldMk cId="3090062221" sldId="311"/>
            <ac:graphicFrameMk id="16" creationId="{5A593BE0-B2EE-DAB8-481F-DCDE6EE6BDDC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2.431" v="8871" actId="478"/>
          <ac:graphicFrameMkLst>
            <pc:docMk/>
            <pc:sldMk cId="3090062221" sldId="311"/>
            <ac:graphicFrameMk id="17" creationId="{1DDDD90B-6559-B079-6BE8-C4E960EDAE96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9:46.341" v="8883" actId="478"/>
          <ac:graphicFrameMkLst>
            <pc:docMk/>
            <pc:sldMk cId="3090062221" sldId="311"/>
            <ac:graphicFrameMk id="18" creationId="{33D05F86-5BAA-0142-89B9-9E2CEAE67970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32.196" v="8877" actId="478"/>
          <ac:graphicFrameMkLst>
            <pc:docMk/>
            <pc:sldMk cId="3090062221" sldId="311"/>
            <ac:graphicFrameMk id="19" creationId="{DF13B7E3-4BFB-9AD3-67C8-C2755690E97C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1" creationId="{B305C757-02F7-D8E4-C352-87D04B022676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2" creationId="{047ADE68-9866-819C-37AA-A74696903866}"/>
          </ac:graphicFrameMkLst>
        </pc:graphicFrameChg>
      </pc:sldChg>
      <pc:sldChg chg="addSp delSp modSp add del mod">
        <pc:chgData name="Tobias Brammer" userId="80a1e1bd-3b82-47a5-b259-da62a397db92" providerId="ADAL" clId="{1E3A7C41-47CF-4BFD-8C66-533AAAACACA8}" dt="2023-02-28T07:03:58.310" v="6347" actId="47"/>
        <pc:sldMkLst>
          <pc:docMk/>
          <pc:sldMk cId="3983784041" sldId="312"/>
        </pc:sldMkLst>
        <pc:spChg chg="mod">
          <ac:chgData name="Tobias Brammer" userId="80a1e1bd-3b82-47a5-b259-da62a397db92" providerId="ADAL" clId="{1E3A7C41-47CF-4BFD-8C66-533AAAACACA8}" dt="2023-02-28T06:08:34.829" v="3355" actId="948"/>
          <ac:spMkLst>
            <pc:docMk/>
            <pc:sldMk cId="3983784041" sldId="312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33.163" v="3345"/>
          <ac:spMkLst>
            <pc:docMk/>
            <pc:sldMk cId="3983784041" sldId="312"/>
            <ac:spMk id="3" creationId="{F8B4F4AA-BCEB-5DE4-1C73-79345D38E278}"/>
          </ac:spMkLst>
        </pc:spChg>
        <pc:spChg chg="add del mod modVis">
          <ac:chgData name="Tobias Brammer" userId="80a1e1bd-3b82-47a5-b259-da62a397db92" providerId="ADAL" clId="{1E3A7C41-47CF-4BFD-8C66-533AAAACACA8}" dt="2023-02-28T06:08:34.853" v="3396"/>
          <ac:spMkLst>
            <pc:docMk/>
            <pc:sldMk cId="3983784041" sldId="312"/>
            <ac:spMk id="5" creationId="{52F713EA-1C23-3329-F724-4EF753D60FDF}"/>
          </ac:spMkLst>
        </pc:spChg>
        <pc:graphicFrameChg chg="mod">
          <ac:chgData name="Tobias Brammer" userId="80a1e1bd-3b82-47a5-b259-da62a397db92" providerId="ADAL" clId="{1E3A7C41-47CF-4BFD-8C66-533AAAACACA8}" dt="2023-02-28T06:08:34.853" v="3398"/>
          <ac:graphicFrameMkLst>
            <pc:docMk/>
            <pc:sldMk cId="3983784041" sldId="312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10:51.803" v="10575" actId="1076"/>
        <pc:sldMkLst>
          <pc:docMk/>
          <pc:sldMk cId="637503088" sldId="313"/>
        </pc:sldMkLst>
        <pc:spChg chg="add mod">
          <ac:chgData name="Tobias Brammer" userId="80a1e1bd-3b82-47a5-b259-da62a397db92" providerId="ADAL" clId="{1E3A7C41-47CF-4BFD-8C66-533AAAACACA8}" dt="2023-03-08T19:10:15.739" v="10493" actId="948"/>
          <ac:spMkLst>
            <pc:docMk/>
            <pc:sldMk cId="637503088" sldId="313"/>
            <ac:spMk id="2" creationId="{2BD5074D-D1F9-B9F7-DACD-88F097B4D5CD}"/>
          </ac:spMkLst>
        </pc:spChg>
        <pc:spChg chg="del">
          <ac:chgData name="Tobias Brammer" userId="80a1e1bd-3b82-47a5-b259-da62a397db92" providerId="ADAL" clId="{1E3A7C41-47CF-4BFD-8C66-533AAAACACA8}" dt="2023-02-28T06:09:31.016" v="3430" actId="478"/>
          <ac:spMkLst>
            <pc:docMk/>
            <pc:sldMk cId="637503088" sldId="313"/>
            <ac:spMk id="2" creationId="{DB8BCC98-68C8-4EB4-853E-B372C26EBCFF}"/>
          </ac:spMkLst>
        </pc:spChg>
        <pc:spChg chg="add del mod modVis">
          <ac:chgData name="Tobias Brammer" userId="80a1e1bd-3b82-47a5-b259-da62a397db92" providerId="ADAL" clId="{1E3A7C41-47CF-4BFD-8C66-533AAAACACA8}" dt="2023-03-08T19:10:15.790" v="10534"/>
          <ac:spMkLst>
            <pc:docMk/>
            <pc:sldMk cId="637503088" sldId="313"/>
            <ac:spMk id="3" creationId="{0F5689F9-FD71-5AD3-42C8-191A123C5D04}"/>
          </ac:spMkLst>
        </pc:spChg>
        <pc:spChg chg="add del mod modVis">
          <ac:chgData name="Tobias Brammer" userId="80a1e1bd-3b82-47a5-b259-da62a397db92" providerId="ADAL" clId="{1E3A7C41-47CF-4BFD-8C66-533AAAACACA8}" dt="2023-02-28T06:38:23.317" v="5481"/>
          <ac:spMkLst>
            <pc:docMk/>
            <pc:sldMk cId="637503088" sldId="313"/>
            <ac:spMk id="3" creationId="{D43D18D9-D257-D219-40AA-FF14A34E5430}"/>
          </ac:spMkLst>
        </pc:spChg>
        <pc:spChg chg="add del mod">
          <ac:chgData name="Tobias Brammer" userId="80a1e1bd-3b82-47a5-b259-da62a397db92" providerId="ADAL" clId="{1E3A7C41-47CF-4BFD-8C66-533AAAACACA8}" dt="2023-02-28T06:09:34.015" v="3436" actId="478"/>
          <ac:spMkLst>
            <pc:docMk/>
            <pc:sldMk cId="637503088" sldId="313"/>
            <ac:spMk id="5" creationId="{A767E049-01A4-F58F-37DE-B86C85FBF948}"/>
          </ac:spMkLst>
        </pc:spChg>
        <pc:spChg chg="add del mod modVis">
          <ac:chgData name="Tobias Brammer" userId="80a1e1bd-3b82-47a5-b259-da62a397db92" providerId="ADAL" clId="{1E3A7C41-47CF-4BFD-8C66-533AAAACACA8}" dt="2023-02-28T06:38:24.455" v="5526"/>
          <ac:spMkLst>
            <pc:docMk/>
            <pc:sldMk cId="637503088" sldId="313"/>
            <ac:spMk id="5" creationId="{F247C247-FB0E-37BD-6D41-0FAF76B1889D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8" creationId="{A26BD07B-B36A-46BD-8B09-8347D40D54E4}"/>
          </ac:spMkLst>
        </pc:spChg>
        <pc:spChg chg="mod or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9" creationId="{7A55C507-1CA4-403F-85AA-068A599400B3}"/>
          </ac:spMkLst>
        </pc:spChg>
        <pc:spChg chg="mod or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3" creationId="{E13D7B49-6DD3-43C3-9A2E-E2BA90A74A41}"/>
          </ac:spMkLst>
        </pc:spChg>
        <pc:spChg chg="add del mod">
          <ac:chgData name="Tobias Brammer" userId="80a1e1bd-3b82-47a5-b259-da62a397db92" providerId="ADAL" clId="{1E3A7C41-47CF-4BFD-8C66-533AAAACACA8}" dt="2023-02-28T06:38:16.509" v="5416" actId="478"/>
          <ac:spMkLst>
            <pc:docMk/>
            <pc:sldMk cId="637503088" sldId="313"/>
            <ac:spMk id="14" creationId="{80CA6A1E-1230-5C19-ED2B-204E17C5782F}"/>
          </ac:spMkLst>
        </pc:spChg>
        <pc:spChg chg="add del mod modVis">
          <ac:chgData name="Tobias Brammer" userId="80a1e1bd-3b82-47a5-b259-da62a397db92" providerId="ADAL" clId="{1E3A7C41-47CF-4BFD-8C66-533AAAACACA8}" dt="2023-02-28T07:05:34.174" v="6393"/>
          <ac:spMkLst>
            <pc:docMk/>
            <pc:sldMk cId="637503088" sldId="313"/>
            <ac:spMk id="15" creationId="{F7B5D358-DE5E-D8C4-ADC1-C5D1A3D0DE2B}"/>
          </ac:spMkLst>
        </pc:spChg>
        <pc:graphicFrameChg chg="mod">
          <ac:chgData name="Tobias Brammer" userId="80a1e1bd-3b82-47a5-b259-da62a397db92" providerId="ADAL" clId="{1E3A7C41-47CF-4BFD-8C66-533AAAACACA8}" dt="2023-03-08T19:10:15.806" v="10536"/>
          <ac:graphicFrameMkLst>
            <pc:docMk/>
            <pc:sldMk cId="637503088" sldId="313"/>
            <ac:graphicFrameMk id="4" creationId="{DA4F5744-822E-272D-9EB9-E4CFFB864E67}"/>
          </ac:graphicFrameMkLst>
        </pc:graphicFrameChg>
      </pc:sldChg>
      <pc:sldChg chg="addSp delSp modSp new add del mod replTag modNotes">
        <pc:chgData name="Tobias Brammer" userId="80a1e1bd-3b82-47a5-b259-da62a397db92" providerId="ADAL" clId="{1E3A7C41-47CF-4BFD-8C66-533AAAACACA8}" dt="2023-03-07T06:19:48.494" v="8634" actId="47"/>
        <pc:sldMkLst>
          <pc:docMk/>
          <pc:sldMk cId="2442288617" sldId="314"/>
        </pc:sldMkLst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2" creationId="{D309766A-97F8-D59F-9A4A-A34A6A22E12B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3" creationId="{53590706-900D-C74D-75E6-E7958675BDB1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4" creationId="{B85D4468-326B-B61A-BD09-97319A802902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7"/>
          <ac:spMkLst>
            <pc:docMk/>
            <pc:sldMk cId="2442288617" sldId="314"/>
            <ac:spMk id="5" creationId="{C5BBB58E-569B-B687-4FFC-8858D431FDF6}"/>
          </ac:spMkLst>
        </pc:spChg>
        <pc:spChg chg="add del mod ord replST">
          <ac:chgData name="Tobias Brammer" userId="80a1e1bd-3b82-47a5-b259-da62a397db92" providerId="ADAL" clId="{1E3A7C41-47CF-4BFD-8C66-533AAAACACA8}" dt="2023-03-07T06:19:34.994" v="8039"/>
          <ac:spMkLst>
            <pc:docMk/>
            <pc:sldMk cId="2442288617" sldId="314"/>
            <ac:spMk id="6" creationId="{322CEEFA-3CBB-484B-5950-40E401853D50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5"/>
          <ac:spMkLst>
            <pc:docMk/>
            <pc:sldMk cId="2442288617" sldId="314"/>
            <ac:spMk id="7" creationId="{0E2B4C85-EA1B-CAD1-99AE-77D0DDD4202A}"/>
          </ac:spMkLst>
        </pc:spChg>
        <pc:spChg chg="add del mod replST">
          <ac:chgData name="Tobias Brammer" userId="80a1e1bd-3b82-47a5-b259-da62a397db92" providerId="ADAL" clId="{1E3A7C41-47CF-4BFD-8C66-533AAAACACA8}" dt="2023-03-07T06:19:34.992" v="8034"/>
          <ac:spMkLst>
            <pc:docMk/>
            <pc:sldMk cId="2442288617" sldId="314"/>
            <ac:spMk id="8" creationId="{33AAD9C2-691E-CDBB-DE65-B539431F9044}"/>
          </ac:spMkLst>
        </pc:spChg>
        <pc:spChg chg="add del mod replST">
          <ac:chgData name="Tobias Brammer" userId="80a1e1bd-3b82-47a5-b259-da62a397db92" providerId="ADAL" clId="{1E3A7C41-47CF-4BFD-8C66-533AAAACACA8}" dt="2023-03-07T06:19:34.990" v="8032"/>
          <ac:spMkLst>
            <pc:docMk/>
            <pc:sldMk cId="2442288617" sldId="314"/>
            <ac:spMk id="9" creationId="{E1DC0737-D98C-FF28-DA55-451DEB6FEBC9}"/>
          </ac:spMkLst>
        </pc:spChg>
        <pc:spChg chg="add del mod replST">
          <ac:chgData name="Tobias Brammer" userId="80a1e1bd-3b82-47a5-b259-da62a397db92" providerId="ADAL" clId="{1E3A7C41-47CF-4BFD-8C66-533AAAACACA8}" dt="2023-03-07T06:19:35.209" v="8186"/>
          <ac:spMkLst>
            <pc:docMk/>
            <pc:sldMk cId="2442288617" sldId="314"/>
            <ac:spMk id="10" creationId="{AC7C5A1F-CF6B-F0BA-31AF-1B15193C2327}"/>
          </ac:spMkLst>
        </pc:spChg>
        <pc:spChg chg="add del mod ord replST">
          <ac:chgData name="Tobias Brammer" userId="80a1e1bd-3b82-47a5-b259-da62a397db92" providerId="ADAL" clId="{1E3A7C41-47CF-4BFD-8C66-533AAAACACA8}" dt="2023-03-07T06:19:35.210" v="8188"/>
          <ac:spMkLst>
            <pc:docMk/>
            <pc:sldMk cId="2442288617" sldId="314"/>
            <ac:spMk id="11" creationId="{FFF1A8CF-C3F3-0D95-601E-643F29B4D6D5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4"/>
          <ac:spMkLst>
            <pc:docMk/>
            <pc:sldMk cId="2442288617" sldId="314"/>
            <ac:spMk id="12" creationId="{29C480A2-0897-968D-3C47-C37E1D151123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3"/>
          <ac:spMkLst>
            <pc:docMk/>
            <pc:sldMk cId="2442288617" sldId="314"/>
            <ac:spMk id="13" creationId="{87411137-08ED-EF25-6EAD-7582CE377194}"/>
          </ac:spMkLst>
        </pc:spChg>
        <pc:spChg chg="add del mod replST">
          <ac:chgData name="Tobias Brammer" userId="80a1e1bd-3b82-47a5-b259-da62a397db92" providerId="ADAL" clId="{1E3A7C41-47CF-4BFD-8C66-533AAAACACA8}" dt="2023-03-07T06:19:35.207" v="8181"/>
          <ac:spMkLst>
            <pc:docMk/>
            <pc:sldMk cId="2442288617" sldId="314"/>
            <ac:spMk id="14" creationId="{528F609B-DAC0-6B13-E030-521ABC1492C3}"/>
          </ac:spMkLst>
        </pc:spChg>
        <pc:spChg chg="add del mod replST">
          <ac:chgData name="Tobias Brammer" userId="80a1e1bd-3b82-47a5-b259-da62a397db92" providerId="ADAL" clId="{1E3A7C41-47CF-4BFD-8C66-533AAAACACA8}" dt="2023-03-07T06:19:35.443" v="8335"/>
          <ac:spMkLst>
            <pc:docMk/>
            <pc:sldMk cId="2442288617" sldId="314"/>
            <ac:spMk id="15" creationId="{B5187429-2401-8A8A-F31C-5CE416ED6DD0}"/>
          </ac:spMkLst>
        </pc:spChg>
        <pc:spChg chg="add del mod ord replST">
          <ac:chgData name="Tobias Brammer" userId="80a1e1bd-3b82-47a5-b259-da62a397db92" providerId="ADAL" clId="{1E3A7C41-47CF-4BFD-8C66-533AAAACACA8}" dt="2023-03-07T06:19:35.443" v="8337"/>
          <ac:spMkLst>
            <pc:docMk/>
            <pc:sldMk cId="2442288617" sldId="314"/>
            <ac:spMk id="16" creationId="{5A4306E2-BD3D-BCF5-2103-B3ACDFCD6C70}"/>
          </ac:spMkLst>
        </pc:spChg>
        <pc:spChg chg="add del mod replST">
          <ac:chgData name="Tobias Brammer" userId="80a1e1bd-3b82-47a5-b259-da62a397db92" providerId="ADAL" clId="{1E3A7C41-47CF-4BFD-8C66-533AAAACACA8}" dt="2023-03-07T06:19:35.442" v="8333"/>
          <ac:spMkLst>
            <pc:docMk/>
            <pc:sldMk cId="2442288617" sldId="314"/>
            <ac:spMk id="17" creationId="{7C3FCB28-CA2F-15AC-BF34-63036E9F36AE}"/>
          </ac:spMkLst>
        </pc:spChg>
        <pc:spChg chg="add del mod replST">
          <ac:chgData name="Tobias Brammer" userId="80a1e1bd-3b82-47a5-b259-da62a397db92" providerId="ADAL" clId="{1E3A7C41-47CF-4BFD-8C66-533AAAACACA8}" dt="2023-03-07T06:19:35.441" v="8332"/>
          <ac:spMkLst>
            <pc:docMk/>
            <pc:sldMk cId="2442288617" sldId="314"/>
            <ac:spMk id="18" creationId="{044EAEE4-AD89-14C2-48D0-D2255B57DC21}"/>
          </ac:spMkLst>
        </pc:spChg>
        <pc:spChg chg="add del mod replST">
          <ac:chgData name="Tobias Brammer" userId="80a1e1bd-3b82-47a5-b259-da62a397db92" providerId="ADAL" clId="{1E3A7C41-47CF-4BFD-8C66-533AAAACACA8}" dt="2023-03-07T06:19:35.440" v="8330"/>
          <ac:spMkLst>
            <pc:docMk/>
            <pc:sldMk cId="2442288617" sldId="314"/>
            <ac:spMk id="19" creationId="{0F99221D-C1CF-D638-A520-45858198E6ED}"/>
          </ac:spMkLst>
        </pc:spChg>
        <pc:spChg chg="add del mod replST">
          <ac:chgData name="Tobias Brammer" userId="80a1e1bd-3b82-47a5-b259-da62a397db92" providerId="ADAL" clId="{1E3A7C41-47CF-4BFD-8C66-533AAAACACA8}" dt="2023-03-07T06:19:35.671" v="8484"/>
          <ac:spMkLst>
            <pc:docMk/>
            <pc:sldMk cId="2442288617" sldId="314"/>
            <ac:spMk id="20" creationId="{967AE865-2A70-22D4-7A34-57DE6C6A2DBB}"/>
          </ac:spMkLst>
        </pc:spChg>
        <pc:spChg chg="add del mod ord replST">
          <ac:chgData name="Tobias Brammer" userId="80a1e1bd-3b82-47a5-b259-da62a397db92" providerId="ADAL" clId="{1E3A7C41-47CF-4BFD-8C66-533AAAACACA8}" dt="2023-03-07T06:19:35.672" v="8486"/>
          <ac:spMkLst>
            <pc:docMk/>
            <pc:sldMk cId="2442288617" sldId="314"/>
            <ac:spMk id="21" creationId="{00EEA402-4E65-3535-C222-B54FE34AF3CE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2"/>
          <ac:spMkLst>
            <pc:docMk/>
            <pc:sldMk cId="2442288617" sldId="314"/>
            <ac:spMk id="22" creationId="{29344402-9945-7F6C-AA77-4360A4D3C96F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1"/>
          <ac:spMkLst>
            <pc:docMk/>
            <pc:sldMk cId="2442288617" sldId="314"/>
            <ac:spMk id="23" creationId="{1C03F8F9-4838-D4FC-069D-70E917C8A1EB}"/>
          </ac:spMkLst>
        </pc:spChg>
        <pc:spChg chg="add del mod replST">
          <ac:chgData name="Tobias Brammer" userId="80a1e1bd-3b82-47a5-b259-da62a397db92" providerId="ADAL" clId="{1E3A7C41-47CF-4BFD-8C66-533AAAACACA8}" dt="2023-03-07T06:19:35.669" v="8479"/>
          <ac:spMkLst>
            <pc:docMk/>
            <pc:sldMk cId="2442288617" sldId="314"/>
            <ac:spMk id="24" creationId="{34D48AA3-B69B-8750-EBAC-136A8B07C95A}"/>
          </ac:spMkLst>
        </pc:spChg>
        <pc:spChg chg="add mod replST">
          <ac:chgData name="Tobias Brammer" userId="80a1e1bd-3b82-47a5-b259-da62a397db92" providerId="ADAL" clId="{1E3A7C41-47CF-4BFD-8C66-533AAAACACA8}" dt="2023-03-07T06:19:35.690" v="8514" actId="947"/>
          <ac:spMkLst>
            <pc:docMk/>
            <pc:sldMk cId="2442288617" sldId="314"/>
            <ac:spMk id="25" creationId="{47CBC08F-0544-5020-CDE8-0D63E4B97FB5}"/>
          </ac:spMkLst>
        </pc:spChg>
        <pc:spChg chg="add mod ord replST">
          <ac:chgData name="Tobias Brammer" userId="80a1e1bd-3b82-47a5-b259-da62a397db92" providerId="ADAL" clId="{1E3A7C41-47CF-4BFD-8C66-533AAAACACA8}" dt="2023-03-07T06:19:35.701" v="8540"/>
          <ac:spMkLst>
            <pc:docMk/>
            <pc:sldMk cId="2442288617" sldId="314"/>
            <ac:spMk id="26" creationId="{ED968E32-DFE5-08E1-75A9-9B7354F2E546}"/>
          </ac:spMkLst>
        </pc:spChg>
        <pc:spChg chg="add mod replST">
          <ac:chgData name="Tobias Brammer" userId="80a1e1bd-3b82-47a5-b259-da62a397db92" providerId="ADAL" clId="{1E3A7C41-47CF-4BFD-8C66-533AAAACACA8}" dt="2023-03-07T06:19:35.717" v="8570"/>
          <ac:spMkLst>
            <pc:docMk/>
            <pc:sldMk cId="2442288617" sldId="314"/>
            <ac:spMk id="27" creationId="{36C52EF2-74E9-EF05-A685-07FBB6AA7D1A}"/>
          </ac:spMkLst>
        </pc:spChg>
        <pc:spChg chg="add mod replST">
          <ac:chgData name="Tobias Brammer" userId="80a1e1bd-3b82-47a5-b259-da62a397db92" providerId="ADAL" clId="{1E3A7C41-47CF-4BFD-8C66-533AAAACACA8}" dt="2023-03-07T06:19:35.733" v="8599" actId="207"/>
          <ac:spMkLst>
            <pc:docMk/>
            <pc:sldMk cId="2442288617" sldId="314"/>
            <ac:spMk id="28" creationId="{07FD8821-3E17-2675-F9DC-4495D372B414}"/>
          </ac:spMkLst>
        </pc:spChg>
        <pc:spChg chg="add mod replST">
          <ac:chgData name="Tobias Brammer" userId="80a1e1bd-3b82-47a5-b259-da62a397db92" providerId="ADAL" clId="{1E3A7C41-47CF-4BFD-8C66-533AAAACACA8}" dt="2023-03-07T06:19:35.747" v="8627"/>
          <ac:spMkLst>
            <pc:docMk/>
            <pc:sldMk cId="2442288617" sldId="314"/>
            <ac:spMk id="29" creationId="{02773137-9307-4053-D6EE-DB41B53BD839}"/>
          </ac:spMkLst>
        </pc:spChg>
      </pc:sldChg>
      <pc:sldMasterChg chg="delSp modSp mod modSldLayout">
        <pc:chgData name="Tobias Brammer" userId="80a1e1bd-3b82-47a5-b259-da62a397db92" providerId="ADAL" clId="{1E3A7C41-47CF-4BFD-8C66-533AAAACACA8}" dt="2023-02-28T05:57:37.780" v="1856" actId="1076"/>
        <pc:sldMasterMkLst>
          <pc:docMk/>
          <pc:sldMasterMk cId="408341288" sldId="2147483648"/>
        </pc:sldMasterMkLst>
        <pc:spChg chg="mod">
          <ac:chgData name="Tobias Brammer" userId="80a1e1bd-3b82-47a5-b259-da62a397db92" providerId="ADAL" clId="{1E3A7C41-47CF-4BFD-8C66-533AAAACACA8}" dt="2023-02-28T05:57:36.927" v="864" actId="948"/>
          <ac:spMkLst>
            <pc:docMk/>
            <pc:sldMasterMk cId="408341288" sldId="2147483648"/>
            <ac:spMk id="2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2" actId="790"/>
          <ac:spMkLst>
            <pc:docMk/>
            <pc:sldMasterMk cId="408341288" sldId="2147483648"/>
            <ac:spMk id="3" creationId="{00000000-0000-0000-0000-000000000000}"/>
          </ac:spMkLst>
        </pc:spChg>
        <pc:spChg chg="del mod modVis">
          <ac:chgData name="Tobias Brammer" userId="80a1e1bd-3b82-47a5-b259-da62a397db92" providerId="ADAL" clId="{1E3A7C41-47CF-4BFD-8C66-533AAAACACA8}" dt="2023-02-28T05:57:37.471" v="1678" actId="478"/>
          <ac:spMkLst>
            <pc:docMk/>
            <pc:sldMasterMk cId="408341288" sldId="2147483648"/>
            <ac:spMk id="4" creationId="{CAD4E2A7-5FD0-BC15-2AA0-6ECFCB217FC9}"/>
          </ac:spMkLst>
        </pc:spChg>
        <pc:spChg chg="mod">
          <ac:chgData name="Tobias Brammer" userId="80a1e1bd-3b82-47a5-b259-da62a397db92" providerId="ADAL" clId="{1E3A7C41-47CF-4BFD-8C66-533AAAACACA8}" dt="2023-02-28T05:57:36.300" v="603" actId="790"/>
          <ac:spMkLst>
            <pc:docMk/>
            <pc:sldMasterMk cId="408341288" sldId="2147483648"/>
            <ac:spMk id="6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5" actId="947"/>
          <ac:spMkLst>
            <pc:docMk/>
            <pc:sldMasterMk cId="408341288" sldId="2147483648"/>
            <ac:spMk id="16" creationId="{41CBECE6-4121-4040-93C2-1D43AFE5C05D}"/>
          </ac:spMkLst>
        </pc:spChg>
        <pc:graphicFrameChg chg="mod">
          <ac:chgData name="Tobias Brammer" userId="80a1e1bd-3b82-47a5-b259-da62a397db92" providerId="ADAL" clId="{1E3A7C41-47CF-4BFD-8C66-533AAAACACA8}" dt="2023-02-28T05:57:37.471" v="1679" actId="1076"/>
          <ac:graphicFrameMkLst>
            <pc:docMk/>
            <pc:sldMasterMk cId="408341288" sldId="2147483648"/>
            <ac:graphicFrameMk id="5" creationId="{DDE25FA5-E514-CFB8-9A3C-3E423FEA643B}"/>
          </ac:graphicFrameMkLst>
        </pc:graphicFrameChg>
        <pc:sldLayoutChg chg="delSp modSp mod">
          <pc:chgData name="Tobias Brammer" userId="80a1e1bd-3b82-47a5-b259-da62a397db92" providerId="ADAL" clId="{1E3A7C41-47CF-4BFD-8C66-533AAAACACA8}" dt="2023-02-28T05:57:37.455" v="1668" actId="1076"/>
          <pc:sldLayoutMkLst>
            <pc:docMk/>
            <pc:sldMasterMk cId="408341288" sldId="2147483648"/>
            <pc:sldLayoutMk cId="1576694700" sldId="2147483650"/>
          </pc:sldLayoutMkLst>
          <pc:spChg chg="mod">
            <ac:chgData name="Tobias Brammer" userId="80a1e1bd-3b82-47a5-b259-da62a397db92" providerId="ADAL" clId="{1E3A7C41-47CF-4BFD-8C66-533AAAACACA8}" dt="2023-02-28T05:57:36.864" v="792" actId="948"/>
            <ac:spMkLst>
              <pc:docMk/>
              <pc:sldMasterMk cId="408341288" sldId="2147483648"/>
              <pc:sldLayoutMk cId="1576694700" sldId="2147483650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42" v="1660" actId="478"/>
            <ac:spMkLst>
              <pc:docMk/>
              <pc:sldMasterMk cId="408341288" sldId="2147483648"/>
              <pc:sldLayoutMk cId="1576694700" sldId="2147483650"/>
              <ac:spMk id="3" creationId="{12BE213B-B437-F6A1-CB38-3E24867DE2E2}"/>
            </ac:spMkLst>
          </pc:spChg>
          <pc:spChg chg="mod">
            <ac:chgData name="Tobias Brammer" userId="80a1e1bd-3b82-47a5-b259-da62a397db92" providerId="ADAL" clId="{1E3A7C41-47CF-4BFD-8C66-533AAAACACA8}" dt="2023-02-28T05:57:36.395" v="654" actId="790"/>
            <ac:spMkLst>
              <pc:docMk/>
              <pc:sldMasterMk cId="408341288" sldId="2147483648"/>
              <pc:sldLayoutMk cId="1576694700" sldId="2147483650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55" actId="790"/>
            <ac:spMkLst>
              <pc:docMk/>
              <pc:sldMasterMk cId="408341288" sldId="2147483648"/>
              <pc:sldLayoutMk cId="1576694700" sldId="2147483650"/>
              <ac:spMk id="10" creationId="{CD368082-6B4C-4E17-B467-EDE690A0632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55" v="1668" actId="1076"/>
            <ac:graphicFrameMkLst>
              <pc:docMk/>
              <pc:sldMasterMk cId="408341288" sldId="2147483648"/>
              <pc:sldLayoutMk cId="1576694700" sldId="2147483650"/>
              <ac:graphicFrameMk id="4" creationId="{1B7D2480-7036-710B-1778-3F9B8F5441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80" v="1803" actId="1076"/>
          <pc:sldLayoutMkLst>
            <pc:docMk/>
            <pc:sldMasterMk cId="408341288" sldId="2147483648"/>
            <pc:sldLayoutMk cId="799966409" sldId="2147483654"/>
          </pc:sldLayoutMkLst>
          <pc:spChg chg="mod">
            <ac:chgData name="Tobias Brammer" userId="80a1e1bd-3b82-47a5-b259-da62a397db92" providerId="ADAL" clId="{1E3A7C41-47CF-4BFD-8C66-533AAAACACA8}" dt="2023-02-28T05:57:37.211" v="1296" actId="948"/>
            <ac:spMkLst>
              <pc:docMk/>
              <pc:sldMasterMk cId="408341288" sldId="2147483648"/>
              <pc:sldLayoutMk cId="799966409" sldId="2147483654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664" v="1795" actId="478"/>
            <ac:spMkLst>
              <pc:docMk/>
              <pc:sldMasterMk cId="408341288" sldId="2147483648"/>
              <pc:sldLayoutMk cId="799966409" sldId="2147483654"/>
              <ac:spMk id="3" creationId="{A2DDA067-65EC-48E6-F67E-BF93AC88E532}"/>
            </ac:spMkLst>
          </pc:spChg>
          <pc:spChg chg="mod">
            <ac:chgData name="Tobias Brammer" userId="80a1e1bd-3b82-47a5-b259-da62a397db92" providerId="ADAL" clId="{1E3A7C41-47CF-4BFD-8C66-533AAAACACA8}" dt="2023-02-28T05:57:36.579" v="733" actId="790"/>
            <ac:spMkLst>
              <pc:docMk/>
              <pc:sldMasterMk cId="408341288" sldId="2147483648"/>
              <pc:sldLayoutMk cId="799966409" sldId="2147483654"/>
              <ac:spMk id="5" creationId="{00000000-0000-0000-0000-000000000000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80" v="1803" actId="1076"/>
            <ac:graphicFrameMkLst>
              <pc:docMk/>
              <pc:sldMasterMk cId="408341288" sldId="2147483648"/>
              <pc:sldLayoutMk cId="799966409" sldId="2147483654"/>
              <ac:graphicFrameMk id="4" creationId="{6251417E-2501-E881-FC04-B6D712425DB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00" v="1760" actId="1076"/>
          <pc:sldLayoutMkLst>
            <pc:docMk/>
            <pc:sldMasterMk cId="408341288" sldId="2147483648"/>
            <pc:sldLayoutMk cId="2002834051" sldId="2147483661"/>
          </pc:sldLayoutMkLst>
          <pc:spChg chg="mod">
            <ac:chgData name="Tobias Brammer" userId="80a1e1bd-3b82-47a5-b259-da62a397db92" providerId="ADAL" clId="{1E3A7C41-47CF-4BFD-8C66-533AAAACACA8}" dt="2023-02-28T05:57:37.142" v="1188" actId="948"/>
            <ac:spMkLst>
              <pc:docMk/>
              <pc:sldMasterMk cId="408341288" sldId="2147483648"/>
              <pc:sldLayoutMk cId="2002834051" sldId="2147483661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85" v="1752" actId="478"/>
            <ac:spMkLst>
              <pc:docMk/>
              <pc:sldMasterMk cId="408341288" sldId="2147483648"/>
              <pc:sldLayoutMk cId="2002834051" sldId="2147483661"/>
              <ac:spMk id="3" creationId="{8B51DB9A-1D16-F49D-CE99-2A4E463956EF}"/>
            </ac:spMkLst>
          </pc:spChg>
          <pc:spChg chg="mod">
            <ac:chgData name="Tobias Brammer" userId="80a1e1bd-3b82-47a5-b259-da62a397db92" providerId="ADAL" clId="{1E3A7C41-47CF-4BFD-8C66-533AAAACACA8}" dt="2023-02-28T05:57:36.495" v="695" actId="790"/>
            <ac:spMkLst>
              <pc:docMk/>
              <pc:sldMasterMk cId="408341288" sldId="2147483648"/>
              <pc:sldLayoutMk cId="2002834051" sldId="2147483661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95" v="696" actId="790"/>
            <ac:spMkLst>
              <pc:docMk/>
              <pc:sldMasterMk cId="408341288" sldId="2147483648"/>
              <pc:sldLayoutMk cId="2002834051" sldId="2147483661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95" v="697" actId="790"/>
            <ac:spMkLst>
              <pc:docMk/>
              <pc:sldMasterMk cId="408341288" sldId="2147483648"/>
              <pc:sldLayoutMk cId="2002834051" sldId="2147483661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8" actId="790"/>
            <ac:spMkLst>
              <pc:docMk/>
              <pc:sldMasterMk cId="408341288" sldId="2147483648"/>
              <pc:sldLayoutMk cId="2002834051" sldId="2147483661"/>
              <ac:spMk id="11" creationId="{40CE05F4-9D00-4DC5-A363-94352566B16D}"/>
            </ac:spMkLst>
          </pc:spChg>
          <pc:spChg chg="mod">
            <ac:chgData name="Tobias Brammer" userId="80a1e1bd-3b82-47a5-b259-da62a397db92" providerId="ADAL" clId="{1E3A7C41-47CF-4BFD-8C66-533AAAACACA8}" dt="2023-02-28T05:57:36.510" v="699" actId="790"/>
            <ac:spMkLst>
              <pc:docMk/>
              <pc:sldMasterMk cId="408341288" sldId="2147483648"/>
              <pc:sldLayoutMk cId="2002834051" sldId="2147483661"/>
              <ac:spMk id="13" creationId="{9DDCD743-188F-4B86-8747-1E373705BA9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00" v="1760" actId="1076"/>
            <ac:graphicFrameMkLst>
              <pc:docMk/>
              <pc:sldMasterMk cId="408341288" sldId="2147483648"/>
              <pc:sldLayoutMk cId="2002834051" sldId="2147483661"/>
              <ac:graphicFrameMk id="4" creationId="{ED0CD790-3C72-3174-9BB9-AAC04CCFEA37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02" v="1706" actId="1076"/>
          <pc:sldLayoutMkLst>
            <pc:docMk/>
            <pc:sldMasterMk cId="408341288" sldId="2147483648"/>
            <pc:sldLayoutMk cId="1215719097" sldId="2147483663"/>
          </pc:sldLayoutMkLst>
          <pc:spChg chg="mod">
            <ac:chgData name="Tobias Brammer" userId="80a1e1bd-3b82-47a5-b259-da62a397db92" providerId="ADAL" clId="{1E3A7C41-47CF-4BFD-8C66-533AAAACACA8}" dt="2023-02-28T05:57:36.995" v="972" actId="948"/>
            <ac:spMkLst>
              <pc:docMk/>
              <pc:sldMasterMk cId="408341288" sldId="2147483648"/>
              <pc:sldLayoutMk cId="1215719097" sldId="214748366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4" actId="790"/>
            <ac:spMkLst>
              <pc:docMk/>
              <pc:sldMasterMk cId="408341288" sldId="2147483648"/>
              <pc:sldLayoutMk cId="1215719097" sldId="214748366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698" actId="478"/>
            <ac:spMkLst>
              <pc:docMk/>
              <pc:sldMasterMk cId="408341288" sldId="2147483648"/>
              <pc:sldLayoutMk cId="1215719097" sldId="2147483663"/>
              <ac:spMk id="4" creationId="{0C24DDF2-72E1-5C5B-CB62-92949F989EF3}"/>
            </ac:spMkLst>
          </pc:spChg>
          <pc:spChg chg="mod">
            <ac:chgData name="Tobias Brammer" userId="80a1e1bd-3b82-47a5-b259-da62a397db92" providerId="ADAL" clId="{1E3A7C41-47CF-4BFD-8C66-533AAAACACA8}" dt="2023-02-28T05:57:36.331" v="615" actId="790"/>
            <ac:spMkLst>
              <pc:docMk/>
              <pc:sldMasterMk cId="408341288" sldId="2147483648"/>
              <pc:sldLayoutMk cId="1215719097" sldId="214748366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12" actId="790"/>
            <ac:spMkLst>
              <pc:docMk/>
              <pc:sldMasterMk cId="408341288" sldId="2147483648"/>
              <pc:sldLayoutMk cId="1215719097" sldId="214748366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31" v="616" actId="790"/>
            <ac:spMkLst>
              <pc:docMk/>
              <pc:sldMasterMk cId="408341288" sldId="2147483648"/>
              <pc:sldLayoutMk cId="1215719097" sldId="2147483663"/>
              <ac:spMk id="18" creationId="{16F701CD-4BAF-4794-A72E-193C61A403C3}"/>
            </ac:spMkLst>
          </pc:spChg>
          <pc:spChg chg="mod">
            <ac:chgData name="Tobias Brammer" userId="80a1e1bd-3b82-47a5-b259-da62a397db92" providerId="ADAL" clId="{1E3A7C41-47CF-4BFD-8C66-533AAAACACA8}" dt="2023-02-28T05:57:36.331" v="618" actId="947"/>
            <ac:spMkLst>
              <pc:docMk/>
              <pc:sldMasterMk cId="408341288" sldId="2147483648"/>
              <pc:sldLayoutMk cId="1215719097" sldId="2147483663"/>
              <ac:spMk id="22" creationId="{7B05331B-4732-4B64-9AE5-022C6BC76C13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02" v="1706" actId="1076"/>
            <ac:graphicFrameMkLst>
              <pc:docMk/>
              <pc:sldMasterMk cId="408341288" sldId="2147483648"/>
              <pc:sldLayoutMk cId="1215719097" sldId="2147483663"/>
              <ac:graphicFrameMk id="5" creationId="{7C26A0E6-6391-3B1A-8CE6-894498A6F9D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88" actId="1076"/>
          <pc:sldLayoutMkLst>
            <pc:docMk/>
            <pc:sldMasterMk cId="408341288" sldId="2147483648"/>
            <pc:sldLayoutMk cId="3653027901" sldId="2147483672"/>
          </pc:sldLayoutMkLst>
          <pc:spChg chg="mod">
            <ac:chgData name="Tobias Brammer" userId="80a1e1bd-3b82-47a5-b259-da62a397db92" providerId="ADAL" clId="{1E3A7C41-47CF-4BFD-8C66-533AAAACACA8}" dt="2023-02-28T05:57:36.948" v="900" actId="948"/>
            <ac:spMkLst>
              <pc:docMk/>
              <pc:sldMasterMk cId="408341288" sldId="2147483648"/>
              <pc:sldLayoutMk cId="3653027901" sldId="2147483672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8" actId="790"/>
            <ac:spMkLst>
              <pc:docMk/>
              <pc:sldMasterMk cId="408341288" sldId="2147483648"/>
              <pc:sldLayoutMk cId="3653027901" sldId="2147483672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71" v="1680" actId="478"/>
            <ac:spMkLst>
              <pc:docMk/>
              <pc:sldMasterMk cId="408341288" sldId="2147483648"/>
              <pc:sldLayoutMk cId="3653027901" sldId="2147483672"/>
              <ac:spMk id="4" creationId="{4E491861-420D-2A62-CD21-DBDBA777D9D3}"/>
            </ac:spMkLst>
          </pc:spChg>
          <pc:spChg chg="mod">
            <ac:chgData name="Tobias Brammer" userId="80a1e1bd-3b82-47a5-b259-da62a397db92" providerId="ADAL" clId="{1E3A7C41-47CF-4BFD-8C66-533AAAACACA8}" dt="2023-02-28T05:57:36.315" v="609" actId="790"/>
            <ac:spMkLst>
              <pc:docMk/>
              <pc:sldMasterMk cId="408341288" sldId="2147483648"/>
              <pc:sldLayoutMk cId="3653027901" sldId="2147483672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6" actId="790"/>
            <ac:spMkLst>
              <pc:docMk/>
              <pc:sldMasterMk cId="408341288" sldId="2147483648"/>
              <pc:sldLayoutMk cId="3653027901" sldId="2147483672"/>
              <ac:spMk id="17" creationId="{939632FF-44ED-498C-B1FE-ACE44FE1E8EF}"/>
            </ac:spMkLst>
          </pc:spChg>
          <pc:spChg chg="mod">
            <ac:chgData name="Tobias Brammer" userId="80a1e1bd-3b82-47a5-b259-da62a397db92" providerId="ADAL" clId="{1E3A7C41-47CF-4BFD-8C66-533AAAACACA8}" dt="2023-02-28T05:57:36.315" v="611" actId="947"/>
            <ac:spMkLst>
              <pc:docMk/>
              <pc:sldMasterMk cId="408341288" sldId="2147483648"/>
              <pc:sldLayoutMk cId="3653027901" sldId="2147483672"/>
              <ac:spMk id="28" creationId="{297EFA8A-BAF3-4E00-ABAE-12A3938FAD5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88" actId="1076"/>
            <ac:graphicFrameMkLst>
              <pc:docMk/>
              <pc:sldMasterMk cId="408341288" sldId="2147483648"/>
              <pc:sldLayoutMk cId="3653027901" sldId="2147483672"/>
              <ac:graphicFrameMk id="5" creationId="{9C8B7415-416B-7FE1-937C-81DC5F7AF7F8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97" actId="1076"/>
          <pc:sldLayoutMkLst>
            <pc:docMk/>
            <pc:sldMasterMk cId="408341288" sldId="2147483648"/>
            <pc:sldLayoutMk cId="2903942727" sldId="2147483673"/>
          </pc:sldLayoutMkLst>
          <pc:spChg chg="mod">
            <ac:chgData name="Tobias Brammer" userId="80a1e1bd-3b82-47a5-b259-da62a397db92" providerId="ADAL" clId="{1E3A7C41-47CF-4BFD-8C66-533AAAACACA8}" dt="2023-02-28T05:57:36.964" v="936" actId="948"/>
            <ac:spMkLst>
              <pc:docMk/>
              <pc:sldMasterMk cId="408341288" sldId="2147483648"/>
              <pc:sldLayoutMk cId="2903942727" sldId="214748367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6" v="621" actId="790"/>
            <ac:spMkLst>
              <pc:docMk/>
              <pc:sldMasterMk cId="408341288" sldId="2147483648"/>
              <pc:sldLayoutMk cId="2903942727" sldId="214748367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87" v="1689" actId="478"/>
            <ac:spMkLst>
              <pc:docMk/>
              <pc:sldMasterMk cId="408341288" sldId="2147483648"/>
              <pc:sldLayoutMk cId="2903942727" sldId="2147483673"/>
              <ac:spMk id="4" creationId="{9266C363-095A-36DB-3903-932BA916BB83}"/>
            </ac:spMkLst>
          </pc:spChg>
          <pc:spChg chg="mod">
            <ac:chgData name="Tobias Brammer" userId="80a1e1bd-3b82-47a5-b259-da62a397db92" providerId="ADAL" clId="{1E3A7C41-47CF-4BFD-8C66-533AAAACACA8}" dt="2023-02-28T05:57:36.348" v="624" actId="790"/>
            <ac:spMkLst>
              <pc:docMk/>
              <pc:sldMasterMk cId="408341288" sldId="2147483648"/>
              <pc:sldLayoutMk cId="2903942727" sldId="214748367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9" actId="790"/>
            <ac:spMkLst>
              <pc:docMk/>
              <pc:sldMasterMk cId="408341288" sldId="2147483648"/>
              <pc:sldLayoutMk cId="2903942727" sldId="214748367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48" v="625" actId="790"/>
            <ac:spMkLst>
              <pc:docMk/>
              <pc:sldMasterMk cId="408341288" sldId="2147483648"/>
              <pc:sldLayoutMk cId="2903942727" sldId="2147483673"/>
              <ac:spMk id="11" creationId="{64FB9D14-6354-4776-99DE-6F2AC7FCCC10}"/>
            </ac:spMkLst>
          </pc:spChg>
          <pc:spChg chg="mod">
            <ac:chgData name="Tobias Brammer" userId="80a1e1bd-3b82-47a5-b259-da62a397db92" providerId="ADAL" clId="{1E3A7C41-47CF-4BFD-8C66-533AAAACACA8}" dt="2023-02-28T05:57:36.348" v="623" actId="947"/>
            <ac:spMkLst>
              <pc:docMk/>
              <pc:sldMasterMk cId="408341288" sldId="2147483648"/>
              <pc:sldLayoutMk cId="2903942727" sldId="2147483673"/>
              <ac:spMk id="15" creationId="{D3B39772-6EF8-414F-B8CA-9572DA8DE67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97" actId="1076"/>
            <ac:graphicFrameMkLst>
              <pc:docMk/>
              <pc:sldMasterMk cId="408341288" sldId="2147483648"/>
              <pc:sldLayoutMk cId="2903942727" sldId="2147483673"/>
              <ac:graphicFrameMk id="5" creationId="{13B33204-4D07-26B3-C91D-431E834A321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18" v="1715" actId="1076"/>
          <pc:sldLayoutMkLst>
            <pc:docMk/>
            <pc:sldMasterMk cId="408341288" sldId="2147483648"/>
            <pc:sldLayoutMk cId="3777408618" sldId="2147483675"/>
          </pc:sldLayoutMkLst>
          <pc:spChg chg="mod">
            <ac:chgData name="Tobias Brammer" userId="80a1e1bd-3b82-47a5-b259-da62a397db92" providerId="ADAL" clId="{1E3A7C41-47CF-4BFD-8C66-533AAAACACA8}" dt="2023-02-28T05:57:37.011" v="1008" actId="948"/>
            <ac:spMkLst>
              <pc:docMk/>
              <pc:sldMasterMk cId="408341288" sldId="2147483648"/>
              <pc:sldLayoutMk cId="3777408618" sldId="2147483675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707" actId="478"/>
            <ac:spMkLst>
              <pc:docMk/>
              <pc:sldMasterMk cId="408341288" sldId="2147483648"/>
              <pc:sldLayoutMk cId="3777408618" sldId="2147483675"/>
              <ac:spMk id="3" creationId="{55ED0FDF-648C-3FF7-15C4-A66690099AB4}"/>
            </ac:spMkLst>
          </pc:spChg>
          <pc:spChg chg="mod">
            <ac:chgData name="Tobias Brammer" userId="80a1e1bd-3b82-47a5-b259-da62a397db92" providerId="ADAL" clId="{1E3A7C41-47CF-4BFD-8C66-533AAAACACA8}" dt="2023-02-28T05:57:36.348" v="627" actId="790"/>
            <ac:spMkLst>
              <pc:docMk/>
              <pc:sldMasterMk cId="408341288" sldId="2147483648"/>
              <pc:sldLayoutMk cId="3777408618" sldId="2147483675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8" v="626" actId="790"/>
            <ac:spMkLst>
              <pc:docMk/>
              <pc:sldMasterMk cId="408341288" sldId="2147483648"/>
              <pc:sldLayoutMk cId="3777408618" sldId="2147483675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64" v="631" actId="790"/>
            <ac:spMkLst>
              <pc:docMk/>
              <pc:sldMasterMk cId="408341288" sldId="2147483648"/>
              <pc:sldLayoutMk cId="3777408618" sldId="2147483675"/>
              <ac:spMk id="10" creationId="{4E5F478B-2AF2-4DD2-BB59-38960637209E}"/>
            </ac:spMkLst>
          </pc:spChg>
          <pc:spChg chg="mod">
            <ac:chgData name="Tobias Brammer" userId="80a1e1bd-3b82-47a5-b259-da62a397db92" providerId="ADAL" clId="{1E3A7C41-47CF-4BFD-8C66-533AAAACACA8}" dt="2023-02-28T05:57:36.348" v="629" actId="947"/>
            <ac:spMkLst>
              <pc:docMk/>
              <pc:sldMasterMk cId="408341288" sldId="2147483648"/>
              <pc:sldLayoutMk cId="3777408618" sldId="2147483675"/>
              <ac:spMk id="12" creationId="{3E26791D-912A-4A89-B575-16A619848A0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18" v="1715" actId="1076"/>
            <ac:graphicFrameMkLst>
              <pc:docMk/>
              <pc:sldMasterMk cId="408341288" sldId="2147483648"/>
              <pc:sldLayoutMk cId="3777408618" sldId="2147483675"/>
              <ac:graphicFrameMk id="4" creationId="{EE13597B-E899-28DA-2685-B261BE4EC78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34" v="1724" actId="1076"/>
          <pc:sldLayoutMkLst>
            <pc:docMk/>
            <pc:sldMasterMk cId="408341288" sldId="2147483648"/>
            <pc:sldLayoutMk cId="803479191" sldId="2147483676"/>
          </pc:sldLayoutMkLst>
          <pc:spChg chg="mod">
            <ac:chgData name="Tobias Brammer" userId="80a1e1bd-3b82-47a5-b259-da62a397db92" providerId="ADAL" clId="{1E3A7C41-47CF-4BFD-8C66-533AAAACACA8}" dt="2023-02-28T05:57:37.048" v="1044" actId="948"/>
            <ac:spMkLst>
              <pc:docMk/>
              <pc:sldMasterMk cId="408341288" sldId="2147483648"/>
              <pc:sldLayoutMk cId="803479191" sldId="2147483676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18" v="1716" actId="478"/>
            <ac:spMkLst>
              <pc:docMk/>
              <pc:sldMasterMk cId="408341288" sldId="2147483648"/>
              <pc:sldLayoutMk cId="803479191" sldId="2147483676"/>
              <ac:spMk id="3" creationId="{5E2BC3CA-997B-E9AA-C116-58430ED5E0EC}"/>
            </ac:spMkLst>
          </pc:spChg>
          <pc:spChg chg="mod">
            <ac:chgData name="Tobias Brammer" userId="80a1e1bd-3b82-47a5-b259-da62a397db92" providerId="ADAL" clId="{1E3A7C41-47CF-4BFD-8C66-533AAAACACA8}" dt="2023-02-28T05:57:36.364" v="633" actId="790"/>
            <ac:spMkLst>
              <pc:docMk/>
              <pc:sldMasterMk cId="408341288" sldId="2147483648"/>
              <pc:sldLayoutMk cId="803479191" sldId="2147483676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64" v="638" actId="790"/>
            <ac:spMkLst>
              <pc:docMk/>
              <pc:sldMasterMk cId="408341288" sldId="2147483648"/>
              <pc:sldLayoutMk cId="803479191" sldId="2147483676"/>
              <ac:spMk id="12" creationId="{7D216729-A8D1-4335-BE16-89F4384AC488}"/>
            </ac:spMkLst>
          </pc:spChg>
          <pc:spChg chg="mod">
            <ac:chgData name="Tobias Brammer" userId="80a1e1bd-3b82-47a5-b259-da62a397db92" providerId="ADAL" clId="{1E3A7C41-47CF-4BFD-8C66-533AAAACACA8}" dt="2023-02-28T05:57:36.364" v="635" actId="947"/>
            <ac:spMkLst>
              <pc:docMk/>
              <pc:sldMasterMk cId="408341288" sldId="2147483648"/>
              <pc:sldLayoutMk cId="803479191" sldId="2147483676"/>
              <ac:spMk id="32" creationId="{A3BB2A3B-E5DD-409B-948F-9E8E9C0DE4C3}"/>
            </ac:spMkLst>
          </pc:spChg>
          <pc:spChg chg="mod">
            <ac:chgData name="Tobias Brammer" userId="80a1e1bd-3b82-47a5-b259-da62a397db92" providerId="ADAL" clId="{1E3A7C41-47CF-4BFD-8C66-533AAAACACA8}" dt="2023-02-28T05:57:36.364" v="637" actId="947"/>
            <ac:spMkLst>
              <pc:docMk/>
              <pc:sldMasterMk cId="408341288" sldId="2147483648"/>
              <pc:sldLayoutMk cId="803479191" sldId="2147483676"/>
              <ac:spMk id="34" creationId="{D8329A9B-7465-4D18-8C10-A6F4DC3954E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34" v="1724" actId="1076"/>
            <ac:graphicFrameMkLst>
              <pc:docMk/>
              <pc:sldMasterMk cId="408341288" sldId="2147483648"/>
              <pc:sldLayoutMk cId="803479191" sldId="2147483676"/>
              <ac:graphicFrameMk id="4" creationId="{E19A314B-22AD-EFCE-EA25-5C90DBDE93F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69" v="1742" actId="1076"/>
          <pc:sldLayoutMkLst>
            <pc:docMk/>
            <pc:sldMasterMk cId="408341288" sldId="2147483648"/>
            <pc:sldLayoutMk cId="1348899113" sldId="2147483677"/>
          </pc:sldLayoutMkLst>
          <pc:spChg chg="mod">
            <ac:chgData name="Tobias Brammer" userId="80a1e1bd-3b82-47a5-b259-da62a397db92" providerId="ADAL" clId="{1E3A7C41-47CF-4BFD-8C66-533AAAACACA8}" dt="2023-02-28T05:57:37.095" v="1116" actId="948"/>
            <ac:spMkLst>
              <pc:docMk/>
              <pc:sldMasterMk cId="408341288" sldId="2147483648"/>
              <pc:sldLayoutMk cId="1348899113" sldId="2147483677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49" v="1734" actId="478"/>
            <ac:spMkLst>
              <pc:docMk/>
              <pc:sldMasterMk cId="408341288" sldId="2147483648"/>
              <pc:sldLayoutMk cId="1348899113" sldId="2147483677"/>
              <ac:spMk id="3" creationId="{C3010575-1E18-D458-5ED5-3C7B51816370}"/>
            </ac:spMkLst>
          </pc:spChg>
          <pc:spChg chg="mod">
            <ac:chgData name="Tobias Brammer" userId="80a1e1bd-3b82-47a5-b259-da62a397db92" providerId="ADAL" clId="{1E3A7C41-47CF-4BFD-8C66-533AAAACACA8}" dt="2023-02-28T05:57:36.379" v="646" actId="790"/>
            <ac:spMkLst>
              <pc:docMk/>
              <pc:sldMasterMk cId="408341288" sldId="2147483648"/>
              <pc:sldLayoutMk cId="1348899113" sldId="2147483677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48" actId="947"/>
            <ac:spMkLst>
              <pc:docMk/>
              <pc:sldMasterMk cId="408341288" sldId="2147483648"/>
              <pc:sldLayoutMk cId="1348899113" sldId="2147483677"/>
              <ac:spMk id="10" creationId="{CDB01046-B639-4C51-B121-93BF127467C5}"/>
            </ac:spMkLst>
          </pc:spChg>
          <pc:spChg chg="mod">
            <ac:chgData name="Tobias Brammer" userId="80a1e1bd-3b82-47a5-b259-da62a397db92" providerId="ADAL" clId="{1E3A7C41-47CF-4BFD-8C66-533AAAACACA8}" dt="2023-02-28T05:57:36.395" v="650" actId="947"/>
            <ac:spMkLst>
              <pc:docMk/>
              <pc:sldMasterMk cId="408341288" sldId="2147483648"/>
              <pc:sldLayoutMk cId="1348899113" sldId="2147483677"/>
              <ac:spMk id="12" creationId="{0941A88B-2C47-4D26-B718-CF388930B536}"/>
            </ac:spMkLst>
          </pc:spChg>
          <pc:spChg chg="mod">
            <ac:chgData name="Tobias Brammer" userId="80a1e1bd-3b82-47a5-b259-da62a397db92" providerId="ADAL" clId="{1E3A7C41-47CF-4BFD-8C66-533AAAACACA8}" dt="2023-02-28T05:57:36.395" v="652" actId="790"/>
            <ac:spMkLst>
              <pc:docMk/>
              <pc:sldMasterMk cId="408341288" sldId="2147483648"/>
              <pc:sldLayoutMk cId="1348899113" sldId="2147483677"/>
              <ac:spMk id="16" creationId="{5C039EB7-1A5B-4652-B373-381F14A78A78}"/>
            </ac:spMkLst>
          </pc:spChg>
          <pc:spChg chg="mod">
            <ac:chgData name="Tobias Brammer" userId="80a1e1bd-3b82-47a5-b259-da62a397db92" providerId="ADAL" clId="{1E3A7C41-47CF-4BFD-8C66-533AAAACACA8}" dt="2023-02-28T05:57:36.395" v="651" actId="790"/>
            <ac:spMkLst>
              <pc:docMk/>
              <pc:sldMasterMk cId="408341288" sldId="2147483648"/>
              <pc:sldLayoutMk cId="1348899113" sldId="2147483677"/>
              <ac:spMk id="17" creationId="{0496EE00-B7B1-4FBC-AE5D-1ED4C224E89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69" v="1742" actId="1076"/>
            <ac:graphicFrameMkLst>
              <pc:docMk/>
              <pc:sldMasterMk cId="408341288" sldId="2147483648"/>
              <pc:sldLayoutMk cId="1348899113" sldId="2147483677"/>
              <ac:graphicFrameMk id="4" creationId="{C8E3A7EA-62A4-417F-AC41-59F565D68C59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31" v="1777" actId="1076"/>
          <pc:sldLayoutMkLst>
            <pc:docMk/>
            <pc:sldMasterMk cId="408341288" sldId="2147483648"/>
            <pc:sldLayoutMk cId="1421122532" sldId="2147483678"/>
          </pc:sldLayoutMkLst>
          <pc:spChg chg="mod">
            <ac:chgData name="Tobias Brammer" userId="80a1e1bd-3b82-47a5-b259-da62a397db92" providerId="ADAL" clId="{1E3A7C41-47CF-4BFD-8C66-533AAAACACA8}" dt="2023-02-28T05:57:36.548" v="720" actId="790"/>
            <ac:spMkLst>
              <pc:docMk/>
              <pc:sldMasterMk cId="408341288" sldId="2147483648"/>
              <pc:sldLayoutMk cId="1421122532" sldId="2147483678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548" v="718" actId="790"/>
            <ac:spMkLst>
              <pc:docMk/>
              <pc:sldMasterMk cId="408341288" sldId="2147483648"/>
              <pc:sldLayoutMk cId="1421122532" sldId="2147483678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563" v="726" actId="790"/>
            <ac:spMkLst>
              <pc:docMk/>
              <pc:sldMasterMk cId="408341288" sldId="2147483648"/>
              <pc:sldLayoutMk cId="1421122532" sldId="2147483678"/>
              <ac:spMk id="12" creationId="{FBAD2409-8FA6-44A8-980A-AC5EF1EDB95E}"/>
            </ac:spMkLst>
          </pc:spChg>
          <pc:spChg chg="mod">
            <ac:chgData name="Tobias Brammer" userId="80a1e1bd-3b82-47a5-b259-da62a397db92" providerId="ADAL" clId="{1E3A7C41-47CF-4BFD-8C66-533AAAACACA8}" dt="2023-02-28T05:57:36.548" v="721" actId="790"/>
            <ac:spMkLst>
              <pc:docMk/>
              <pc:sldMasterMk cId="408341288" sldId="2147483648"/>
              <pc:sldLayoutMk cId="1421122532" sldId="2147483678"/>
              <ac:spMk id="28" creationId="{B631F2FF-4D98-41D0-99C3-F0535BA34965}"/>
            </ac:spMkLst>
          </pc:spChg>
          <pc:spChg chg="mod">
            <ac:chgData name="Tobias Brammer" userId="80a1e1bd-3b82-47a5-b259-da62a397db92" providerId="ADAL" clId="{1E3A7C41-47CF-4BFD-8C66-533AAAACACA8}" dt="2023-02-28T05:57:36.548" v="722" actId="790"/>
            <ac:spMkLst>
              <pc:docMk/>
              <pc:sldMasterMk cId="408341288" sldId="2147483648"/>
              <pc:sldLayoutMk cId="1421122532" sldId="2147483678"/>
              <ac:spMk id="29" creationId="{7D86C3A8-CC69-48DD-A8AB-DA43FCA85FF9}"/>
            </ac:spMkLst>
          </pc:spChg>
          <pc:spChg chg="mod">
            <ac:chgData name="Tobias Brammer" userId="80a1e1bd-3b82-47a5-b259-da62a397db92" providerId="ADAL" clId="{1E3A7C41-47CF-4BFD-8C66-533AAAACACA8}" dt="2023-02-28T05:57:36.563" v="723" actId="790"/>
            <ac:spMkLst>
              <pc:docMk/>
              <pc:sldMasterMk cId="408341288" sldId="2147483648"/>
              <pc:sldLayoutMk cId="1421122532" sldId="2147483678"/>
              <ac:spMk id="30" creationId="{AF9B4576-96C2-4288-8D1B-684C7112FCDF}"/>
            </ac:spMkLst>
          </pc:spChg>
          <pc:spChg chg="mod">
            <ac:chgData name="Tobias Brammer" userId="80a1e1bd-3b82-47a5-b259-da62a397db92" providerId="ADAL" clId="{1E3A7C41-47CF-4BFD-8C66-533AAAACACA8}" dt="2023-02-28T05:57:36.563" v="725" actId="947"/>
            <ac:spMkLst>
              <pc:docMk/>
              <pc:sldMasterMk cId="408341288" sldId="2147483648"/>
              <pc:sldLayoutMk cId="1421122532" sldId="2147483678"/>
              <ac:spMk id="33" creationId="{3F8274B9-A14B-4EF8-8547-543E8342075F}"/>
            </ac:spMkLst>
          </pc:spChg>
          <pc:spChg chg="mod">
            <ac:chgData name="Tobias Brammer" userId="80a1e1bd-3b82-47a5-b259-da62a397db92" providerId="ADAL" clId="{1E3A7C41-47CF-4BFD-8C66-533AAAACACA8}" dt="2023-02-28T05:57:36.548" v="719" actId="790"/>
            <ac:spMkLst>
              <pc:docMk/>
              <pc:sldMasterMk cId="408341288" sldId="2147483648"/>
              <pc:sldLayoutMk cId="1421122532" sldId="2147483678"/>
              <ac:spMk id="36" creationId="{E965B3AD-EE9F-4A21-8AAE-0CF487A6FB7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31" v="1777" actId="1076"/>
            <ac:graphicFrameMkLst>
              <pc:docMk/>
              <pc:sldMasterMk cId="408341288" sldId="2147483648"/>
              <pc:sldLayoutMk cId="1421122532" sldId="2147483678"/>
              <ac:graphicFrameMk id="2" creationId="{AF0513D3-A647-9A26-7977-459430610D1B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96" v="1811" actId="1076"/>
          <pc:sldLayoutMkLst>
            <pc:docMk/>
            <pc:sldMasterMk cId="408341288" sldId="2147483648"/>
            <pc:sldLayoutMk cId="1013684879" sldId="2147483679"/>
          </pc:sldLayoutMkLst>
          <pc:spChg chg="mod">
            <ac:chgData name="Tobias Brammer" userId="80a1e1bd-3b82-47a5-b259-da62a397db92" providerId="ADAL" clId="{1E3A7C41-47CF-4BFD-8C66-533AAAACACA8}" dt="2023-02-28T05:57:36.563" v="730" actId="790"/>
            <ac:spMkLst>
              <pc:docMk/>
              <pc:sldMasterMk cId="408341288" sldId="2147483648"/>
              <pc:sldLayoutMk cId="1013684879" sldId="2147483679"/>
              <ac:spMk id="7" creationId="{FA5094E7-11C9-418B-BA06-9C3719BEDDDA}"/>
            </ac:spMkLst>
          </pc:spChg>
          <pc:spChg chg="mod">
            <ac:chgData name="Tobias Brammer" userId="80a1e1bd-3b82-47a5-b259-da62a397db92" providerId="ADAL" clId="{1E3A7C41-47CF-4BFD-8C66-533AAAACACA8}" dt="2023-02-28T05:57:36.563" v="731" actId="790"/>
            <ac:spMkLst>
              <pc:docMk/>
              <pc:sldMasterMk cId="408341288" sldId="2147483648"/>
              <pc:sldLayoutMk cId="1013684879" sldId="2147483679"/>
              <ac:spMk id="9" creationId="{7903A596-7BB0-412B-B416-763BFCF93DA7}"/>
            </ac:spMkLst>
          </pc:spChg>
          <pc:spChg chg="mod">
            <ac:chgData name="Tobias Brammer" userId="80a1e1bd-3b82-47a5-b259-da62a397db92" providerId="ADAL" clId="{1E3A7C41-47CF-4BFD-8C66-533AAAACACA8}" dt="2023-02-28T05:57:36.563" v="727" actId="790"/>
            <ac:spMkLst>
              <pc:docMk/>
              <pc:sldMasterMk cId="408341288" sldId="2147483648"/>
              <pc:sldLayoutMk cId="1013684879" sldId="2147483679"/>
              <ac:spMk id="10" creationId="{EC54937F-5C47-47DE-BBED-0C6D35450F6A}"/>
            </ac:spMkLst>
          </pc:spChg>
          <pc:spChg chg="mod">
            <ac:chgData name="Tobias Brammer" userId="80a1e1bd-3b82-47a5-b259-da62a397db92" providerId="ADAL" clId="{1E3A7C41-47CF-4BFD-8C66-533AAAACACA8}" dt="2023-02-28T05:57:36.563" v="728" actId="790"/>
            <ac:spMkLst>
              <pc:docMk/>
              <pc:sldMasterMk cId="408341288" sldId="2147483648"/>
              <pc:sldLayoutMk cId="1013684879" sldId="2147483679"/>
              <ac:spMk id="11" creationId="{4214CA9E-C795-4866-9FF0-38C28911BB9D}"/>
            </ac:spMkLst>
          </pc:spChg>
          <pc:spChg chg="mod">
            <ac:chgData name="Tobias Brammer" userId="80a1e1bd-3b82-47a5-b259-da62a397db92" providerId="ADAL" clId="{1E3A7C41-47CF-4BFD-8C66-533AAAACACA8}" dt="2023-02-28T05:57:36.563" v="729" actId="790"/>
            <ac:spMkLst>
              <pc:docMk/>
              <pc:sldMasterMk cId="408341288" sldId="2147483648"/>
              <pc:sldLayoutMk cId="1013684879" sldId="2147483679"/>
              <ac:spMk id="12" creationId="{C971CBE6-8195-46E1-AEA2-BD555ECCC0A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96" v="1811" actId="1076"/>
            <ac:graphicFrameMkLst>
              <pc:docMk/>
              <pc:sldMasterMk cId="408341288" sldId="2147483648"/>
              <pc:sldLayoutMk cId="1013684879" sldId="2147483679"/>
              <ac:graphicFrameMk id="2" creationId="{EC12F142-4E09-486C-70DF-B4359EB7A1E0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64" v="1794" actId="1076"/>
          <pc:sldLayoutMkLst>
            <pc:docMk/>
            <pc:sldMasterMk cId="408341288" sldId="2147483648"/>
            <pc:sldLayoutMk cId="3945193607" sldId="2147483680"/>
          </pc:sldLayoutMkLst>
          <pc:spChg chg="mod">
            <ac:chgData name="Tobias Brammer" userId="80a1e1bd-3b82-47a5-b259-da62a397db92" providerId="ADAL" clId="{1E3A7C41-47CF-4BFD-8C66-533AAAACACA8}" dt="2023-02-28T05:57:36.595" v="746" actId="790"/>
            <ac:spMkLst>
              <pc:docMk/>
              <pc:sldMasterMk cId="408341288" sldId="2147483648"/>
              <pc:sldLayoutMk cId="3945193607" sldId="2147483680"/>
              <ac:spMk id="4" creationId="{87C095F8-A024-4A35-99AE-5042B63313B1}"/>
            </ac:spMkLst>
          </pc:spChg>
          <pc:spChg chg="mod">
            <ac:chgData name="Tobias Brammer" userId="80a1e1bd-3b82-47a5-b259-da62a397db92" providerId="ADAL" clId="{1E3A7C41-47CF-4BFD-8C66-533AAAACACA8}" dt="2023-02-28T05:57:36.579" v="734" actId="790"/>
            <ac:spMkLst>
              <pc:docMk/>
              <pc:sldMasterMk cId="408341288" sldId="2147483648"/>
              <pc:sldLayoutMk cId="3945193607" sldId="2147483680"/>
              <ac:spMk id="10" creationId="{B1EB893E-E72C-4865-BCEB-316B4E1923B0}"/>
            </ac:spMkLst>
          </pc:spChg>
          <pc:spChg chg="mod">
            <ac:chgData name="Tobias Brammer" userId="80a1e1bd-3b82-47a5-b259-da62a397db92" providerId="ADAL" clId="{1E3A7C41-47CF-4BFD-8C66-533AAAACACA8}" dt="2023-02-28T05:57:36.579" v="736" actId="947"/>
            <ac:spMkLst>
              <pc:docMk/>
              <pc:sldMasterMk cId="408341288" sldId="2147483648"/>
              <pc:sldLayoutMk cId="3945193607" sldId="2147483680"/>
              <ac:spMk id="15" creationId="{0361AE4B-7609-4632-9401-0DC42BA537BD}"/>
            </ac:spMkLst>
          </pc:spChg>
          <pc:spChg chg="mod">
            <ac:chgData name="Tobias Brammer" userId="80a1e1bd-3b82-47a5-b259-da62a397db92" providerId="ADAL" clId="{1E3A7C41-47CF-4BFD-8C66-533AAAACACA8}" dt="2023-02-28T05:57:36.579" v="738" actId="947"/>
            <ac:spMkLst>
              <pc:docMk/>
              <pc:sldMasterMk cId="408341288" sldId="2147483648"/>
              <pc:sldLayoutMk cId="3945193607" sldId="2147483680"/>
              <ac:spMk id="16" creationId="{37E301B3-E7D6-40A4-963F-25C6883E5A50}"/>
            </ac:spMkLst>
          </pc:spChg>
          <pc:spChg chg="mod">
            <ac:chgData name="Tobias Brammer" userId="80a1e1bd-3b82-47a5-b259-da62a397db92" providerId="ADAL" clId="{1E3A7C41-47CF-4BFD-8C66-533AAAACACA8}" dt="2023-02-28T05:57:36.579" v="745" actId="790"/>
            <ac:spMkLst>
              <pc:docMk/>
              <pc:sldMasterMk cId="408341288" sldId="2147483648"/>
              <pc:sldLayoutMk cId="3945193607" sldId="2147483680"/>
              <ac:spMk id="17" creationId="{11958930-3179-4A2E-8155-875EC59FE57F}"/>
            </ac:spMkLst>
          </pc:spChg>
          <pc:spChg chg="mod">
            <ac:chgData name="Tobias Brammer" userId="80a1e1bd-3b82-47a5-b259-da62a397db92" providerId="ADAL" clId="{1E3A7C41-47CF-4BFD-8C66-533AAAACACA8}" dt="2023-02-28T05:57:36.579" v="740" actId="947"/>
            <ac:spMkLst>
              <pc:docMk/>
              <pc:sldMasterMk cId="408341288" sldId="2147483648"/>
              <pc:sldLayoutMk cId="3945193607" sldId="2147483680"/>
              <ac:spMk id="20" creationId="{E1A26097-CD01-4F99-BE32-FB4F5B7EEBCC}"/>
            </ac:spMkLst>
          </pc:spChg>
          <pc:spChg chg="mod">
            <ac:chgData name="Tobias Brammer" userId="80a1e1bd-3b82-47a5-b259-da62a397db92" providerId="ADAL" clId="{1E3A7C41-47CF-4BFD-8C66-533AAAACACA8}" dt="2023-02-28T05:57:36.579" v="742" actId="947"/>
            <ac:spMkLst>
              <pc:docMk/>
              <pc:sldMasterMk cId="408341288" sldId="2147483648"/>
              <pc:sldLayoutMk cId="3945193607" sldId="2147483680"/>
              <ac:spMk id="21" creationId="{5A838974-69ED-4C19-A90E-05DBD42D201D}"/>
            </ac:spMkLst>
          </pc:spChg>
          <pc:spChg chg="mod">
            <ac:chgData name="Tobias Brammer" userId="80a1e1bd-3b82-47a5-b259-da62a397db92" providerId="ADAL" clId="{1E3A7C41-47CF-4BFD-8C66-533AAAACACA8}" dt="2023-02-28T05:57:36.579" v="743" actId="790"/>
            <ac:spMkLst>
              <pc:docMk/>
              <pc:sldMasterMk cId="408341288" sldId="2147483648"/>
              <pc:sldLayoutMk cId="3945193607" sldId="2147483680"/>
              <ac:spMk id="22" creationId="{A956F20C-AA17-48A2-83B5-1B535A976945}"/>
            </ac:spMkLst>
          </pc:spChg>
          <pc:spChg chg="mod">
            <ac:chgData name="Tobias Brammer" userId="80a1e1bd-3b82-47a5-b259-da62a397db92" providerId="ADAL" clId="{1E3A7C41-47CF-4BFD-8C66-533AAAACACA8}" dt="2023-02-28T05:57:36.579" v="744" actId="790"/>
            <ac:spMkLst>
              <pc:docMk/>
              <pc:sldMasterMk cId="408341288" sldId="2147483648"/>
              <pc:sldLayoutMk cId="3945193607" sldId="2147483680"/>
              <ac:spMk id="37" creationId="{DBA9BEEB-9A9C-4E0D-B111-7218E5CD52D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64" v="1794" actId="1076"/>
            <ac:graphicFrameMkLst>
              <pc:docMk/>
              <pc:sldMasterMk cId="408341288" sldId="2147483648"/>
              <pc:sldLayoutMk cId="3945193607" sldId="2147483680"/>
              <ac:graphicFrameMk id="2" creationId="{B2B34963-242D-90C7-1E7A-AB958EBC24B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11" v="1820" actId="1076"/>
          <pc:sldLayoutMkLst>
            <pc:docMk/>
            <pc:sldMasterMk cId="408341288" sldId="2147483648"/>
            <pc:sldLayoutMk cId="547289489" sldId="2147483681"/>
          </pc:sldLayoutMkLst>
          <pc:spChg chg="mod">
            <ac:chgData name="Tobias Brammer" userId="80a1e1bd-3b82-47a5-b259-da62a397db92" providerId="ADAL" clId="{1E3A7C41-47CF-4BFD-8C66-533AAAACACA8}" dt="2023-02-28T05:57:37.242" v="1332" actId="948"/>
            <ac:spMkLst>
              <pc:docMk/>
              <pc:sldMasterMk cId="408341288" sldId="2147483648"/>
              <pc:sldLayoutMk cId="547289489" sldId="2147483681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696" v="1812" actId="478"/>
            <ac:spMkLst>
              <pc:docMk/>
              <pc:sldMasterMk cId="408341288" sldId="2147483648"/>
              <pc:sldLayoutMk cId="547289489" sldId="2147483681"/>
              <ac:spMk id="3" creationId="{A7B256D0-0A5B-F73E-2960-ABC9DE017F75}"/>
            </ac:spMkLst>
          </pc:spChg>
          <pc:spChg chg="mod">
            <ac:chgData name="Tobias Brammer" userId="80a1e1bd-3b82-47a5-b259-da62a397db92" providerId="ADAL" clId="{1E3A7C41-47CF-4BFD-8C66-533AAAACACA8}" dt="2023-02-28T05:57:36.411" v="661" actId="790"/>
            <ac:spMkLst>
              <pc:docMk/>
              <pc:sldMasterMk cId="408341288" sldId="2147483648"/>
              <pc:sldLayoutMk cId="547289489" sldId="2147483681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11" v="659" actId="790"/>
            <ac:spMkLst>
              <pc:docMk/>
              <pc:sldMasterMk cId="408341288" sldId="2147483648"/>
              <pc:sldLayoutMk cId="547289489" sldId="2147483681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11" v="662" actId="790"/>
            <ac:spMkLst>
              <pc:docMk/>
              <pc:sldMasterMk cId="408341288" sldId="2147483648"/>
              <pc:sldLayoutMk cId="547289489" sldId="2147483681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64" actId="947"/>
            <ac:spMkLst>
              <pc:docMk/>
              <pc:sldMasterMk cId="408341288" sldId="2147483648"/>
              <pc:sldLayoutMk cId="547289489" sldId="2147483681"/>
              <ac:spMk id="13" creationId="{C967A86E-1E38-460F-9723-9D24C8DEEF8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11" v="1820" actId="1076"/>
            <ac:graphicFrameMkLst>
              <pc:docMk/>
              <pc:sldMasterMk cId="408341288" sldId="2147483648"/>
              <pc:sldLayoutMk cId="547289489" sldId="2147483681"/>
              <ac:graphicFrameMk id="4" creationId="{F3EE7813-74C2-F8E1-D412-BE30BC2B57C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27" v="1829" actId="1076"/>
          <pc:sldLayoutMkLst>
            <pc:docMk/>
            <pc:sldMasterMk cId="408341288" sldId="2147483648"/>
            <pc:sldLayoutMk cId="1364635059" sldId="2147483682"/>
          </pc:sldLayoutMkLst>
          <pc:spChg chg="mod">
            <ac:chgData name="Tobias Brammer" userId="80a1e1bd-3b82-47a5-b259-da62a397db92" providerId="ADAL" clId="{1E3A7C41-47CF-4BFD-8C66-533AAAACACA8}" dt="2023-02-28T05:57:37.264" v="1368" actId="948"/>
            <ac:spMkLst>
              <pc:docMk/>
              <pc:sldMasterMk cId="408341288" sldId="2147483648"/>
              <pc:sldLayoutMk cId="1364635059" sldId="2147483682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711" v="1821" actId="478"/>
            <ac:spMkLst>
              <pc:docMk/>
              <pc:sldMasterMk cId="408341288" sldId="2147483648"/>
              <pc:sldLayoutMk cId="1364635059" sldId="2147483682"/>
              <ac:spMk id="3" creationId="{63019E8B-7838-845C-7A3A-35396FF89897}"/>
            </ac:spMkLst>
          </pc:spChg>
          <pc:spChg chg="mod">
            <ac:chgData name="Tobias Brammer" userId="80a1e1bd-3b82-47a5-b259-da62a397db92" providerId="ADAL" clId="{1E3A7C41-47CF-4BFD-8C66-533AAAACACA8}" dt="2023-02-28T05:57:36.426" v="667" actId="790"/>
            <ac:spMkLst>
              <pc:docMk/>
              <pc:sldMasterMk cId="408341288" sldId="2147483648"/>
              <pc:sldLayoutMk cId="1364635059" sldId="2147483682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26" v="665" actId="790"/>
            <ac:spMkLst>
              <pc:docMk/>
              <pc:sldMasterMk cId="408341288" sldId="2147483648"/>
              <pc:sldLayoutMk cId="1364635059" sldId="2147483682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26" v="668" actId="790"/>
            <ac:spMkLst>
              <pc:docMk/>
              <pc:sldMasterMk cId="408341288" sldId="2147483648"/>
              <pc:sldLayoutMk cId="1364635059" sldId="2147483682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70" actId="947"/>
            <ac:spMkLst>
              <pc:docMk/>
              <pc:sldMasterMk cId="408341288" sldId="2147483648"/>
              <pc:sldLayoutMk cId="1364635059" sldId="2147483682"/>
              <ac:spMk id="13" creationId="{18590422-9BE5-4289-94F5-8531586DFCD8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27" v="1829" actId="1076"/>
            <ac:graphicFrameMkLst>
              <pc:docMk/>
              <pc:sldMasterMk cId="408341288" sldId="2147483648"/>
              <pc:sldLayoutMk cId="1364635059" sldId="2147483682"/>
              <ac:graphicFrameMk id="4" creationId="{C012E119-F5DD-6106-9214-36AB682F7F06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80" v="1856" actId="1076"/>
          <pc:sldLayoutMkLst>
            <pc:docMk/>
            <pc:sldMasterMk cId="408341288" sldId="2147483648"/>
            <pc:sldLayoutMk cId="3912777144" sldId="2147483683"/>
          </pc:sldLayoutMkLst>
          <pc:spChg chg="del mod modVis">
            <ac:chgData name="Tobias Brammer" userId="80a1e1bd-3b82-47a5-b259-da62a397db92" providerId="ADAL" clId="{1E3A7C41-47CF-4BFD-8C66-533AAAACACA8}" dt="2023-02-28T05:57:37.764" v="1848" actId="478"/>
            <ac:spMkLst>
              <pc:docMk/>
              <pc:sldMasterMk cId="408341288" sldId="2147483648"/>
              <pc:sldLayoutMk cId="3912777144" sldId="2147483683"/>
              <ac:spMk id="2" creationId="{0F598405-7069-128A-8C54-ACA789BA2F54}"/>
            </ac:spMkLst>
          </pc:spChg>
          <pc:spChg chg="mod">
            <ac:chgData name="Tobias Brammer" userId="80a1e1bd-3b82-47a5-b259-da62a397db92" providerId="ADAL" clId="{1E3A7C41-47CF-4BFD-8C66-533AAAACACA8}" dt="2023-02-28T05:57:36.442" v="674" actId="790"/>
            <ac:spMkLst>
              <pc:docMk/>
              <pc:sldMasterMk cId="408341288" sldId="2147483648"/>
              <pc:sldLayoutMk cId="3912777144" sldId="214748368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426" v="671" actId="790"/>
            <ac:spMkLst>
              <pc:docMk/>
              <pc:sldMasterMk cId="408341288" sldId="2147483648"/>
              <pc:sldLayoutMk cId="3912777144" sldId="214748368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448" v="675" actId="790"/>
            <ac:spMkLst>
              <pc:docMk/>
              <pc:sldMasterMk cId="408341288" sldId="2147483648"/>
              <pc:sldLayoutMk cId="3912777144" sldId="2147483683"/>
              <ac:spMk id="16" creationId="{C9E9BA6B-A909-4C0A-8466-CD595BEE7A3F}"/>
            </ac:spMkLst>
          </pc:spChg>
          <pc:spChg chg="mod">
            <ac:chgData name="Tobias Brammer" userId="80a1e1bd-3b82-47a5-b259-da62a397db92" providerId="ADAL" clId="{1E3A7C41-47CF-4BFD-8C66-533AAAACACA8}" dt="2023-02-28T05:57:37.327" v="1476" actId="948"/>
            <ac:spMkLst>
              <pc:docMk/>
              <pc:sldMasterMk cId="408341288" sldId="2147483648"/>
              <pc:sldLayoutMk cId="3912777144" sldId="2147483683"/>
              <ac:spMk id="18" creationId="{9BC18D5D-BEB9-4927-939D-CB0865E74EF0}"/>
            </ac:spMkLst>
          </pc:spChg>
          <pc:spChg chg="mod">
            <ac:chgData name="Tobias Brammer" userId="80a1e1bd-3b82-47a5-b259-da62a397db92" providerId="ADAL" clId="{1E3A7C41-47CF-4BFD-8C66-533AAAACACA8}" dt="2023-02-28T05:57:36.448" v="676" actId="790"/>
            <ac:spMkLst>
              <pc:docMk/>
              <pc:sldMasterMk cId="408341288" sldId="2147483648"/>
              <pc:sldLayoutMk cId="3912777144" sldId="2147483683"/>
              <ac:spMk id="19" creationId="{70CCB88D-D695-4EB7-926A-A112876360AD}"/>
            </ac:spMkLst>
          </pc:spChg>
          <pc:spChg chg="mod">
            <ac:chgData name="Tobias Brammer" userId="80a1e1bd-3b82-47a5-b259-da62a397db92" providerId="ADAL" clId="{1E3A7C41-47CF-4BFD-8C66-533AAAACACA8}" dt="2023-02-28T05:57:36.442" v="672" actId="790"/>
            <ac:spMkLst>
              <pc:docMk/>
              <pc:sldMasterMk cId="408341288" sldId="2147483648"/>
              <pc:sldLayoutMk cId="3912777144" sldId="2147483683"/>
              <ac:spMk id="32" creationId="{BA3D0DD0-91F8-4803-BD5E-DEFAF18680C3}"/>
            </ac:spMkLst>
          </pc:spChg>
          <pc:spChg chg="mod">
            <ac:chgData name="Tobias Brammer" userId="80a1e1bd-3b82-47a5-b259-da62a397db92" providerId="ADAL" clId="{1E3A7C41-47CF-4BFD-8C66-533AAAACACA8}" dt="2023-02-28T05:57:36.448" v="678" actId="947"/>
            <ac:spMkLst>
              <pc:docMk/>
              <pc:sldMasterMk cId="408341288" sldId="2147483648"/>
              <pc:sldLayoutMk cId="3912777144" sldId="2147483683"/>
              <ac:spMk id="33" creationId="{C96493EE-CEB4-4D66-95C2-0B294097E5C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80" v="1856" actId="1076"/>
            <ac:graphicFrameMkLst>
              <pc:docMk/>
              <pc:sldMasterMk cId="408341288" sldId="2147483648"/>
              <pc:sldLayoutMk cId="3912777144" sldId="2147483683"/>
              <ac:graphicFrameMk id="3" creationId="{DB55FE80-6286-289B-DD1E-C57D0B5F519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49" v="1838" actId="1076"/>
          <pc:sldLayoutMkLst>
            <pc:docMk/>
            <pc:sldMasterMk cId="408341288" sldId="2147483648"/>
            <pc:sldLayoutMk cId="3865668458" sldId="2147483684"/>
          </pc:sldLayoutMkLst>
          <pc:spChg chg="mod">
            <ac:chgData name="Tobias Brammer" userId="80a1e1bd-3b82-47a5-b259-da62a397db92" providerId="ADAL" clId="{1E3A7C41-47CF-4BFD-8C66-533AAAACACA8}" dt="2023-02-28T05:57:37.280" v="1404" actId="948"/>
            <ac:spMkLst>
              <pc:docMk/>
              <pc:sldMasterMk cId="408341288" sldId="2147483648"/>
              <pc:sldLayoutMk cId="3865668458" sldId="2147483684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27" v="1830" actId="478"/>
            <ac:spMkLst>
              <pc:docMk/>
              <pc:sldMasterMk cId="408341288" sldId="2147483648"/>
              <pc:sldLayoutMk cId="3865668458" sldId="2147483684"/>
              <ac:spMk id="3" creationId="{085BE295-83D4-FE7D-101D-DD25F4B78528}"/>
            </ac:spMkLst>
          </pc:spChg>
          <pc:spChg chg="mod">
            <ac:chgData name="Tobias Brammer" userId="80a1e1bd-3b82-47a5-b259-da62a397db92" providerId="ADAL" clId="{1E3A7C41-47CF-4BFD-8C66-533AAAACACA8}" dt="2023-02-28T05:57:36.448" v="680" actId="790"/>
            <ac:spMkLst>
              <pc:docMk/>
              <pc:sldMasterMk cId="408341288" sldId="2147483648"/>
              <pc:sldLayoutMk cId="3865668458" sldId="2147483684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48" v="681" actId="790"/>
            <ac:spMkLst>
              <pc:docMk/>
              <pc:sldMasterMk cId="408341288" sldId="2147483648"/>
              <pc:sldLayoutMk cId="3865668458" sldId="2147483684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2" actId="790"/>
            <ac:spMkLst>
              <pc:docMk/>
              <pc:sldMasterMk cId="408341288" sldId="2147483648"/>
              <pc:sldLayoutMk cId="3865668458" sldId="2147483684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49" v="1838" actId="1076"/>
            <ac:graphicFrameMkLst>
              <pc:docMk/>
              <pc:sldMasterMk cId="408341288" sldId="2147483648"/>
              <pc:sldLayoutMk cId="3865668458" sldId="2147483684"/>
              <ac:graphicFrameMk id="4" creationId="{06E8AE74-7B17-EDE3-BB81-AD934018C72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64" v="1847" actId="1076"/>
          <pc:sldLayoutMkLst>
            <pc:docMk/>
            <pc:sldMasterMk cId="408341288" sldId="2147483648"/>
            <pc:sldLayoutMk cId="1230172900" sldId="2147483685"/>
          </pc:sldLayoutMkLst>
          <pc:spChg chg="mod">
            <ac:chgData name="Tobias Brammer" userId="80a1e1bd-3b82-47a5-b259-da62a397db92" providerId="ADAL" clId="{1E3A7C41-47CF-4BFD-8C66-533AAAACACA8}" dt="2023-02-28T05:57:37.311" v="1440" actId="948"/>
            <ac:spMkLst>
              <pc:docMk/>
              <pc:sldMasterMk cId="408341288" sldId="2147483648"/>
              <pc:sldLayoutMk cId="1230172900" sldId="2147483685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49" v="1839" actId="478"/>
            <ac:spMkLst>
              <pc:docMk/>
              <pc:sldMasterMk cId="408341288" sldId="2147483648"/>
              <pc:sldLayoutMk cId="1230172900" sldId="2147483685"/>
              <ac:spMk id="3" creationId="{490375B6-D132-CA2E-7ED6-996D0D91A7DD}"/>
            </ac:spMkLst>
          </pc:spChg>
          <pc:spChg chg="mod">
            <ac:chgData name="Tobias Brammer" userId="80a1e1bd-3b82-47a5-b259-da62a397db92" providerId="ADAL" clId="{1E3A7C41-47CF-4BFD-8C66-533AAAACACA8}" dt="2023-02-28T05:57:36.463" v="684" actId="790"/>
            <ac:spMkLst>
              <pc:docMk/>
              <pc:sldMasterMk cId="408341288" sldId="2147483648"/>
              <pc:sldLayoutMk cId="1230172900" sldId="2147483685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63" v="685" actId="790"/>
            <ac:spMkLst>
              <pc:docMk/>
              <pc:sldMasterMk cId="408341288" sldId="2147483648"/>
              <pc:sldLayoutMk cId="1230172900" sldId="2147483685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6" actId="790"/>
            <ac:spMkLst>
              <pc:docMk/>
              <pc:sldMasterMk cId="408341288" sldId="2147483648"/>
              <pc:sldLayoutMk cId="1230172900" sldId="2147483685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87" actId="790"/>
            <ac:spMkLst>
              <pc:docMk/>
              <pc:sldMasterMk cId="408341288" sldId="2147483648"/>
              <pc:sldLayoutMk cId="1230172900" sldId="2147483685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64" v="1847" actId="1076"/>
            <ac:graphicFrameMkLst>
              <pc:docMk/>
              <pc:sldMasterMk cId="408341288" sldId="2147483648"/>
              <pc:sldLayoutMk cId="1230172900" sldId="2147483685"/>
              <ac:graphicFrameMk id="4" creationId="{E87B03DB-BAEC-5561-E2F2-6CA14020B0FA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85" v="1751" actId="1076"/>
          <pc:sldLayoutMkLst>
            <pc:docMk/>
            <pc:sldMasterMk cId="408341288" sldId="2147483648"/>
            <pc:sldLayoutMk cId="1463015649" sldId="2147483686"/>
          </pc:sldLayoutMkLst>
          <pc:spChg chg="mod">
            <ac:chgData name="Tobias Brammer" userId="80a1e1bd-3b82-47a5-b259-da62a397db92" providerId="ADAL" clId="{1E3A7C41-47CF-4BFD-8C66-533AAAACACA8}" dt="2023-02-28T05:57:37.111" v="1152" actId="948"/>
            <ac:spMkLst>
              <pc:docMk/>
              <pc:sldMasterMk cId="408341288" sldId="2147483648"/>
              <pc:sldLayoutMk cId="1463015649" sldId="2147483686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69" v="1743" actId="478"/>
            <ac:spMkLst>
              <pc:docMk/>
              <pc:sldMasterMk cId="408341288" sldId="2147483648"/>
              <pc:sldLayoutMk cId="1463015649" sldId="2147483686"/>
              <ac:spMk id="3" creationId="{B42C3518-54C6-00D9-EDFD-62B63C16BB75}"/>
            </ac:spMkLst>
          </pc:spChg>
          <pc:spChg chg="mod">
            <ac:chgData name="Tobias Brammer" userId="80a1e1bd-3b82-47a5-b259-da62a397db92" providerId="ADAL" clId="{1E3A7C41-47CF-4BFD-8C66-533AAAACACA8}" dt="2023-02-28T05:57:36.479" v="689" actId="790"/>
            <ac:spMkLst>
              <pc:docMk/>
              <pc:sldMasterMk cId="408341288" sldId="2147483648"/>
              <pc:sldLayoutMk cId="1463015649" sldId="2147483686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79" v="690" actId="790"/>
            <ac:spMkLst>
              <pc:docMk/>
              <pc:sldMasterMk cId="408341288" sldId="2147483648"/>
              <pc:sldLayoutMk cId="1463015649" sldId="2147483686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79" v="691" actId="790"/>
            <ac:spMkLst>
              <pc:docMk/>
              <pc:sldMasterMk cId="408341288" sldId="2147483648"/>
              <pc:sldLayoutMk cId="1463015649" sldId="2147483686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92" actId="790"/>
            <ac:spMkLst>
              <pc:docMk/>
              <pc:sldMasterMk cId="408341288" sldId="2147483648"/>
              <pc:sldLayoutMk cId="1463015649" sldId="2147483686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3" actId="790"/>
            <ac:spMkLst>
              <pc:docMk/>
              <pc:sldMasterMk cId="408341288" sldId="2147483648"/>
              <pc:sldLayoutMk cId="1463015649" sldId="2147483686"/>
              <ac:spMk id="10" creationId="{6A45B6CB-352F-4E32-AF69-C299C10A51C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85" v="1751" actId="1076"/>
            <ac:graphicFrameMkLst>
              <pc:docMk/>
              <pc:sldMasterMk cId="408341288" sldId="2147483648"/>
              <pc:sldLayoutMk cId="1463015649" sldId="2147483686"/>
              <ac:graphicFrameMk id="4" creationId="{A407E8C6-0376-2DE4-3C8E-914D1A02184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16" v="1769" actId="1076"/>
          <pc:sldLayoutMkLst>
            <pc:docMk/>
            <pc:sldMasterMk cId="408341288" sldId="2147483648"/>
            <pc:sldLayoutMk cId="3511884162" sldId="2147483687"/>
          </pc:sldLayoutMkLst>
          <pc:spChg chg="mod">
            <ac:chgData name="Tobias Brammer" userId="80a1e1bd-3b82-47a5-b259-da62a397db92" providerId="ADAL" clId="{1E3A7C41-47CF-4BFD-8C66-533AAAACACA8}" dt="2023-02-28T05:57:37.164" v="1224" actId="948"/>
            <ac:spMkLst>
              <pc:docMk/>
              <pc:sldMasterMk cId="408341288" sldId="2147483648"/>
              <pc:sldLayoutMk cId="3511884162" sldId="2147483687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00" v="1761" actId="478"/>
            <ac:spMkLst>
              <pc:docMk/>
              <pc:sldMasterMk cId="408341288" sldId="2147483648"/>
              <pc:sldLayoutMk cId="3511884162" sldId="2147483687"/>
              <ac:spMk id="3" creationId="{BB9B6ED2-FCA7-69C4-A50D-ED430D15C218}"/>
            </ac:spMkLst>
          </pc:spChg>
          <pc:spChg chg="mod">
            <ac:chgData name="Tobias Brammer" userId="80a1e1bd-3b82-47a5-b259-da62a397db92" providerId="ADAL" clId="{1E3A7C41-47CF-4BFD-8C66-533AAAACACA8}" dt="2023-02-28T05:57:36.510" v="701" actId="790"/>
            <ac:spMkLst>
              <pc:docMk/>
              <pc:sldMasterMk cId="408341288" sldId="2147483648"/>
              <pc:sldLayoutMk cId="3511884162" sldId="2147483687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10" v="702" actId="790"/>
            <ac:spMkLst>
              <pc:docMk/>
              <pc:sldMasterMk cId="408341288" sldId="2147483648"/>
              <pc:sldLayoutMk cId="3511884162" sldId="2147483687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510" v="703" actId="790"/>
            <ac:spMkLst>
              <pc:docMk/>
              <pc:sldMasterMk cId="408341288" sldId="2147483648"/>
              <pc:sldLayoutMk cId="3511884162" sldId="2147483687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510" v="704" actId="790"/>
            <ac:spMkLst>
              <pc:docMk/>
              <pc:sldMasterMk cId="408341288" sldId="2147483648"/>
              <pc:sldLayoutMk cId="3511884162" sldId="2147483687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527" v="705" actId="790"/>
            <ac:spMkLst>
              <pc:docMk/>
              <pc:sldMasterMk cId="408341288" sldId="2147483648"/>
              <pc:sldLayoutMk cId="3511884162" sldId="2147483687"/>
              <ac:spMk id="10" creationId="{52179531-8123-4684-8DC8-C0C8F5375C25}"/>
            </ac:spMkLst>
          </pc:spChg>
          <pc:spChg chg="mod">
            <ac:chgData name="Tobias Brammer" userId="80a1e1bd-3b82-47a5-b259-da62a397db92" providerId="ADAL" clId="{1E3A7C41-47CF-4BFD-8C66-533AAAACACA8}" dt="2023-02-28T05:57:36.528" v="706" actId="790"/>
            <ac:spMkLst>
              <pc:docMk/>
              <pc:sldMasterMk cId="408341288" sldId="2147483648"/>
              <pc:sldLayoutMk cId="3511884162" sldId="2147483687"/>
              <ac:spMk id="13" creationId="{86BB78F2-84F0-4A0A-9793-68171CF5E7E1}"/>
            </ac:spMkLst>
          </pc:spChg>
          <pc:spChg chg="mod">
            <ac:chgData name="Tobias Brammer" userId="80a1e1bd-3b82-47a5-b259-da62a397db92" providerId="ADAL" clId="{1E3A7C41-47CF-4BFD-8C66-533AAAACACA8}" dt="2023-02-28T05:57:36.528" v="707" actId="790"/>
            <ac:spMkLst>
              <pc:docMk/>
              <pc:sldMasterMk cId="408341288" sldId="2147483648"/>
              <pc:sldLayoutMk cId="3511884162" sldId="2147483687"/>
              <ac:spMk id="14" creationId="{4377A560-23C0-491F-BDB7-C58123E772DF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16" v="1769" actId="1076"/>
            <ac:graphicFrameMkLst>
              <pc:docMk/>
              <pc:sldMasterMk cId="408341288" sldId="2147483648"/>
              <pc:sldLayoutMk cId="3511884162" sldId="2147483687"/>
              <ac:graphicFrameMk id="4" creationId="{894B3E18-6AF9-96A9-7EF6-3F8F268D7B6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49" v="1786" actId="1076"/>
          <pc:sldLayoutMkLst>
            <pc:docMk/>
            <pc:sldMasterMk cId="408341288" sldId="2147483648"/>
            <pc:sldLayoutMk cId="1427491588" sldId="2147483688"/>
          </pc:sldLayoutMkLst>
          <pc:spChg chg="mod">
            <ac:chgData name="Tobias Brammer" userId="80a1e1bd-3b82-47a5-b259-da62a397db92" providerId="ADAL" clId="{1E3A7C41-47CF-4BFD-8C66-533AAAACACA8}" dt="2023-02-28T05:57:37.180" v="1260" actId="948"/>
            <ac:spMkLst>
              <pc:docMk/>
              <pc:sldMasterMk cId="408341288" sldId="2147483648"/>
              <pc:sldLayoutMk cId="1427491588" sldId="2147483688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31" v="1778" actId="478"/>
            <ac:spMkLst>
              <pc:docMk/>
              <pc:sldMasterMk cId="408341288" sldId="2147483648"/>
              <pc:sldLayoutMk cId="1427491588" sldId="2147483688"/>
              <ac:spMk id="3" creationId="{143EBB72-D2A2-6519-2E58-2BC8DFCE10BB}"/>
            </ac:spMkLst>
          </pc:spChg>
          <pc:spChg chg="mod">
            <ac:chgData name="Tobias Brammer" userId="80a1e1bd-3b82-47a5-b259-da62a397db92" providerId="ADAL" clId="{1E3A7C41-47CF-4BFD-8C66-533AAAACACA8}" dt="2023-02-28T05:57:36.528" v="709" actId="790"/>
            <ac:spMkLst>
              <pc:docMk/>
              <pc:sldMasterMk cId="408341288" sldId="2147483648"/>
              <pc:sldLayoutMk cId="1427491588" sldId="2147483688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28" v="710" actId="790"/>
            <ac:spMkLst>
              <pc:docMk/>
              <pc:sldMasterMk cId="408341288" sldId="2147483648"/>
              <pc:sldLayoutMk cId="1427491588" sldId="2147483688"/>
              <ac:spMk id="11" creationId="{F7E1B724-1863-4934-82EC-6D065E0A0F15}"/>
            </ac:spMkLst>
          </pc:spChg>
          <pc:spChg chg="mod">
            <ac:chgData name="Tobias Brammer" userId="80a1e1bd-3b82-47a5-b259-da62a397db92" providerId="ADAL" clId="{1E3A7C41-47CF-4BFD-8C66-533AAAACACA8}" dt="2023-02-28T05:57:36.528" v="711" actId="790"/>
            <ac:spMkLst>
              <pc:docMk/>
              <pc:sldMasterMk cId="408341288" sldId="2147483648"/>
              <pc:sldLayoutMk cId="1427491588" sldId="2147483688"/>
              <ac:spMk id="12" creationId="{41975656-DFB7-4063-B691-5AD6F9E0901C}"/>
            </ac:spMkLst>
          </pc:spChg>
          <pc:spChg chg="mod">
            <ac:chgData name="Tobias Brammer" userId="80a1e1bd-3b82-47a5-b259-da62a397db92" providerId="ADAL" clId="{1E3A7C41-47CF-4BFD-8C66-533AAAACACA8}" dt="2023-02-28T05:57:36.544" v="712" actId="790"/>
            <ac:spMkLst>
              <pc:docMk/>
              <pc:sldMasterMk cId="408341288" sldId="2147483648"/>
              <pc:sldLayoutMk cId="1427491588" sldId="2147483688"/>
              <ac:spMk id="13" creationId="{22C5418F-AF34-42EC-8A58-7BF2F892BD62}"/>
            </ac:spMkLst>
          </pc:spChg>
          <pc:spChg chg="mod">
            <ac:chgData name="Tobias Brammer" userId="80a1e1bd-3b82-47a5-b259-da62a397db92" providerId="ADAL" clId="{1E3A7C41-47CF-4BFD-8C66-533AAAACACA8}" dt="2023-02-28T05:57:36.544" v="713" actId="790"/>
            <ac:spMkLst>
              <pc:docMk/>
              <pc:sldMasterMk cId="408341288" sldId="2147483648"/>
              <pc:sldLayoutMk cId="1427491588" sldId="2147483688"/>
              <ac:spMk id="14" creationId="{AA708B7D-C86C-42CC-B31B-727B57E41D73}"/>
            </ac:spMkLst>
          </pc:spChg>
          <pc:spChg chg="mod">
            <ac:chgData name="Tobias Brammer" userId="80a1e1bd-3b82-47a5-b259-da62a397db92" providerId="ADAL" clId="{1E3A7C41-47CF-4BFD-8C66-533AAAACACA8}" dt="2023-02-28T05:57:36.548" v="714" actId="790"/>
            <ac:spMkLst>
              <pc:docMk/>
              <pc:sldMasterMk cId="408341288" sldId="2147483648"/>
              <pc:sldLayoutMk cId="1427491588" sldId="2147483688"/>
              <ac:spMk id="15" creationId="{C2B809B3-8F1B-4F1D-9FFA-7FBAD2E26A4B}"/>
            </ac:spMkLst>
          </pc:spChg>
          <pc:spChg chg="mod">
            <ac:chgData name="Tobias Brammer" userId="80a1e1bd-3b82-47a5-b259-da62a397db92" providerId="ADAL" clId="{1E3A7C41-47CF-4BFD-8C66-533AAAACACA8}" dt="2023-02-28T05:57:36.548" v="715" actId="790"/>
            <ac:spMkLst>
              <pc:docMk/>
              <pc:sldMasterMk cId="408341288" sldId="2147483648"/>
              <pc:sldLayoutMk cId="1427491588" sldId="2147483688"/>
              <ac:spMk id="16" creationId="{2E6382C7-BB6A-4A21-8265-F37ECCC6FF11}"/>
            </ac:spMkLst>
          </pc:spChg>
          <pc:spChg chg="mod">
            <ac:chgData name="Tobias Brammer" userId="80a1e1bd-3b82-47a5-b259-da62a397db92" providerId="ADAL" clId="{1E3A7C41-47CF-4BFD-8C66-533AAAACACA8}" dt="2023-02-28T05:57:36.548" v="716" actId="790"/>
            <ac:spMkLst>
              <pc:docMk/>
              <pc:sldMasterMk cId="408341288" sldId="2147483648"/>
              <pc:sldLayoutMk cId="1427491588" sldId="2147483688"/>
              <ac:spMk id="17" creationId="{826194ED-C5B4-4BF4-88B1-17C18E2D722C}"/>
            </ac:spMkLst>
          </pc:spChg>
          <pc:spChg chg="mod">
            <ac:chgData name="Tobias Brammer" userId="80a1e1bd-3b82-47a5-b259-da62a397db92" providerId="ADAL" clId="{1E3A7C41-47CF-4BFD-8C66-533AAAACACA8}" dt="2023-02-28T05:57:36.548" v="717" actId="790"/>
            <ac:spMkLst>
              <pc:docMk/>
              <pc:sldMasterMk cId="408341288" sldId="2147483648"/>
              <pc:sldLayoutMk cId="1427491588" sldId="2147483688"/>
              <ac:spMk id="18" creationId="{1807E5E9-1B45-4641-B765-AAEC167C62E6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49" v="1786" actId="1076"/>
            <ac:graphicFrameMkLst>
              <pc:docMk/>
              <pc:sldMasterMk cId="408341288" sldId="2147483648"/>
              <pc:sldLayoutMk cId="1427491588" sldId="2147483688"/>
              <ac:graphicFrameMk id="4" creationId="{DF67402E-0A98-654F-37FA-246E12DB1E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49" v="1733" actId="1076"/>
          <pc:sldLayoutMkLst>
            <pc:docMk/>
            <pc:sldMasterMk cId="408341288" sldId="2147483648"/>
            <pc:sldLayoutMk cId="1501344722" sldId="2147483691"/>
          </pc:sldLayoutMkLst>
          <pc:spChg chg="mod">
            <ac:chgData name="Tobias Brammer" userId="80a1e1bd-3b82-47a5-b259-da62a397db92" providerId="ADAL" clId="{1E3A7C41-47CF-4BFD-8C66-533AAAACACA8}" dt="2023-02-28T05:57:37.064" v="1080" actId="948"/>
            <ac:spMkLst>
              <pc:docMk/>
              <pc:sldMasterMk cId="408341288" sldId="2147483648"/>
              <pc:sldLayoutMk cId="1501344722" sldId="2147483691"/>
              <ac:spMk id="2" creationId="{92C1918C-9363-4876-BE81-A1CD339A2D47}"/>
            </ac:spMkLst>
          </pc:spChg>
          <pc:spChg chg="del mod modVis">
            <ac:chgData name="Tobias Brammer" userId="80a1e1bd-3b82-47a5-b259-da62a397db92" providerId="ADAL" clId="{1E3A7C41-47CF-4BFD-8C66-533AAAACACA8}" dt="2023-02-28T05:57:37.534" v="1725" actId="478"/>
            <ac:spMkLst>
              <pc:docMk/>
              <pc:sldMasterMk cId="408341288" sldId="2147483648"/>
              <pc:sldLayoutMk cId="1501344722" sldId="2147483691"/>
              <ac:spMk id="3" creationId="{5187D2E6-041B-B001-4EE0-84267CBEC752}"/>
            </ac:spMkLst>
          </pc:spChg>
          <pc:spChg chg="mod">
            <ac:chgData name="Tobias Brammer" userId="80a1e1bd-3b82-47a5-b259-da62a397db92" providerId="ADAL" clId="{1E3A7C41-47CF-4BFD-8C66-533AAAACACA8}" dt="2023-02-28T05:57:36.364" v="640" actId="790"/>
            <ac:spMkLst>
              <pc:docMk/>
              <pc:sldMasterMk cId="408341288" sldId="2147483648"/>
              <pc:sldLayoutMk cId="1501344722" sldId="2147483691"/>
              <ac:spMk id="5" creationId="{51F8DDE5-E09E-4851-80C7-9117A55BBA61}"/>
            </ac:spMkLst>
          </pc:spChg>
          <pc:spChg chg="mod">
            <ac:chgData name="Tobias Brammer" userId="80a1e1bd-3b82-47a5-b259-da62a397db92" providerId="ADAL" clId="{1E3A7C41-47CF-4BFD-8C66-533AAAACACA8}" dt="2023-02-28T05:57:36.379" v="641" actId="790"/>
            <ac:spMkLst>
              <pc:docMk/>
              <pc:sldMasterMk cId="408341288" sldId="2147483648"/>
              <pc:sldLayoutMk cId="1501344722" sldId="2147483691"/>
              <ac:spMk id="12" creationId="{529B0911-F7F1-4774-A696-6B9D2735D4E2}"/>
            </ac:spMkLst>
          </pc:spChg>
          <pc:spChg chg="mod">
            <ac:chgData name="Tobias Brammer" userId="80a1e1bd-3b82-47a5-b259-da62a397db92" providerId="ADAL" clId="{1E3A7C41-47CF-4BFD-8C66-533AAAACACA8}" dt="2023-02-28T05:57:36.379" v="642" actId="790"/>
            <ac:spMkLst>
              <pc:docMk/>
              <pc:sldMasterMk cId="408341288" sldId="2147483648"/>
              <pc:sldLayoutMk cId="1501344722" sldId="2147483691"/>
              <ac:spMk id="16" creationId="{EAB1C4A3-F47C-4231-AAC2-76E60133E4E9}"/>
            </ac:spMkLst>
          </pc:spChg>
          <pc:spChg chg="mod">
            <ac:chgData name="Tobias Brammer" userId="80a1e1bd-3b82-47a5-b259-da62a397db92" providerId="ADAL" clId="{1E3A7C41-47CF-4BFD-8C66-533AAAACACA8}" dt="2023-02-28T05:57:36.379" v="643" actId="790"/>
            <ac:spMkLst>
              <pc:docMk/>
              <pc:sldMasterMk cId="408341288" sldId="2147483648"/>
              <pc:sldLayoutMk cId="1501344722" sldId="2147483691"/>
              <ac:spMk id="19" creationId="{93B756E9-F541-497F-92B6-1332822426C2}"/>
            </ac:spMkLst>
          </pc:spChg>
          <pc:spChg chg="mod">
            <ac:chgData name="Tobias Brammer" userId="80a1e1bd-3b82-47a5-b259-da62a397db92" providerId="ADAL" clId="{1E3A7C41-47CF-4BFD-8C66-533AAAACACA8}" dt="2023-02-28T05:57:36.379" v="644" actId="790"/>
            <ac:spMkLst>
              <pc:docMk/>
              <pc:sldMasterMk cId="408341288" sldId="2147483648"/>
              <pc:sldLayoutMk cId="1501344722" sldId="2147483691"/>
              <ac:spMk id="20" creationId="{526EFD36-E395-47FA-A4C9-907A4C94848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49" v="1733" actId="1076"/>
            <ac:graphicFrameMkLst>
              <pc:docMk/>
              <pc:sldMasterMk cId="408341288" sldId="2147483648"/>
              <pc:sldLayoutMk cId="1501344722" sldId="2147483691"/>
              <ac:graphicFrameMk id="4" creationId="{639A8324-4EAB-D001-BF91-8F238CF8521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71" v="1677" actId="1076"/>
          <pc:sldLayoutMkLst>
            <pc:docMk/>
            <pc:sldMasterMk cId="408341288" sldId="2147483648"/>
            <pc:sldLayoutMk cId="2650753366" sldId="2147483692"/>
          </pc:sldLayoutMkLst>
          <pc:spChg chg="mod">
            <ac:chgData name="Tobias Brammer" userId="80a1e1bd-3b82-47a5-b259-da62a397db92" providerId="ADAL" clId="{1E3A7C41-47CF-4BFD-8C66-533AAAACACA8}" dt="2023-02-28T05:57:36.895" v="828" actId="948"/>
            <ac:spMkLst>
              <pc:docMk/>
              <pc:sldMasterMk cId="408341288" sldId="2147483648"/>
              <pc:sldLayoutMk cId="2650753366" sldId="2147483692"/>
              <ac:spMk id="2" creationId="{EDABB80B-B68E-403D-8533-538037F78BC9}"/>
            </ac:spMkLst>
          </pc:spChg>
          <pc:spChg chg="del mod modVis">
            <ac:chgData name="Tobias Brammer" userId="80a1e1bd-3b82-47a5-b259-da62a397db92" providerId="ADAL" clId="{1E3A7C41-47CF-4BFD-8C66-533AAAACACA8}" dt="2023-02-28T05:57:37.455" v="1669" actId="478"/>
            <ac:spMkLst>
              <pc:docMk/>
              <pc:sldMasterMk cId="408341288" sldId="2147483648"/>
              <pc:sldLayoutMk cId="2650753366" sldId="2147483692"/>
              <ac:spMk id="3" creationId="{9E2BBBE8-6E65-E302-4EF1-2022711637C1}"/>
            </ac:spMkLst>
          </pc:spChg>
          <pc:spChg chg="mod">
            <ac:chgData name="Tobias Brammer" userId="80a1e1bd-3b82-47a5-b259-da62a397db92" providerId="ADAL" clId="{1E3A7C41-47CF-4BFD-8C66-533AAAACACA8}" dt="2023-02-28T05:57:36.411" v="657" actId="790"/>
            <ac:spMkLst>
              <pc:docMk/>
              <pc:sldMasterMk cId="408341288" sldId="2147483648"/>
              <pc:sldLayoutMk cId="2650753366" sldId="2147483692"/>
              <ac:spMk id="5" creationId="{579AA1BE-5B22-4EEB-81F8-ABE92B61A72F}"/>
            </ac:spMkLst>
          </pc:spChg>
          <pc:spChg chg="mod">
            <ac:chgData name="Tobias Brammer" userId="80a1e1bd-3b82-47a5-b259-da62a397db92" providerId="ADAL" clId="{1E3A7C41-47CF-4BFD-8C66-533AAAACACA8}" dt="2023-02-28T05:57:36.411" v="658" actId="790"/>
            <ac:spMkLst>
              <pc:docMk/>
              <pc:sldMasterMk cId="408341288" sldId="2147483648"/>
              <pc:sldLayoutMk cId="2650753366" sldId="2147483692"/>
              <ac:spMk id="9" creationId="{AE3E6A7E-4961-403F-A8EA-EB08707ECA2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71" v="1677" actId="1076"/>
            <ac:graphicFrameMkLst>
              <pc:docMk/>
              <pc:sldMasterMk cId="408341288" sldId="2147483648"/>
              <pc:sldLayoutMk cId="2650753366" sldId="2147483692"/>
              <ac:graphicFrameMk id="4" creationId="{C44E94A3-94F7-4876-BD09-C61C8FBD6718}"/>
            </ac:graphicFrameMkLst>
          </pc:graphicFrameChg>
        </pc:sldLayoutChg>
      </pc:sldMasterChg>
    </pc:docChg>
  </pc:docChgLst>
  <pc:docChgLst>
    <pc:chgData name="Tobias Brammer" userId="80a1e1bd-3b82-47a5-b259-da62a397db92" providerId="ADAL" clId="{008C3F84-4C29-4233-992B-2D26DEA7756B}"/>
    <pc:docChg chg="undo redo custSel addSld delSld modSld sldOrd replTag">
      <pc:chgData name="Tobias Brammer" userId="80a1e1bd-3b82-47a5-b259-da62a397db92" providerId="ADAL" clId="{008C3F84-4C29-4233-992B-2D26DEA7756B}" dt="2023-12-08T10:27:08" v="27654"/>
      <pc:docMkLst>
        <pc:docMk/>
      </pc:docMkLst>
      <pc:sldChg chg="modSp mod">
        <pc:chgData name="Tobias Brammer" userId="80a1e1bd-3b82-47a5-b259-da62a397db92" providerId="ADAL" clId="{008C3F84-4C29-4233-992B-2D26DEA7756B}" dt="2023-11-22T12:39:56.055" v="23889"/>
        <pc:sldMkLst>
          <pc:docMk/>
          <pc:sldMk cId="2641621532" sldId="281"/>
        </pc:sldMkLst>
        <pc:spChg chg="mod">
          <ac:chgData name="Tobias Brammer" userId="80a1e1bd-3b82-47a5-b259-da62a397db92" providerId="ADAL" clId="{008C3F84-4C29-4233-992B-2D26DEA7756B}" dt="2023-11-22T12:39:56.049" v="23885" actId="948"/>
          <ac:spMkLst>
            <pc:docMk/>
            <pc:sldMk cId="2641621532" sldId="281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39:56.055" v="23889"/>
          <ac:graphicFrameMkLst>
            <pc:docMk/>
            <pc:sldMk cId="2641621532" sldId="281"/>
            <ac:graphicFrameMk id="3" creationId="{AB86B848-EDE9-F4A9-108A-F58D243B51C5}"/>
          </ac:graphicFrameMkLst>
        </pc:graphicFrameChg>
      </pc:sldChg>
      <pc:sldChg chg="addSp delSp modSp del mod modNotesTx">
        <pc:chgData name="Tobias Brammer" userId="80a1e1bd-3b82-47a5-b259-da62a397db92" providerId="ADAL" clId="{008C3F84-4C29-4233-992B-2D26DEA7756B}" dt="2023-11-22T08:35:36.658" v="19918" actId="47"/>
        <pc:sldMkLst>
          <pc:docMk/>
          <pc:sldMk cId="2492524537" sldId="309"/>
        </pc:sldMkLst>
        <pc:spChg chg="mod">
          <ac:chgData name="Tobias Brammer" userId="80a1e1bd-3b82-47a5-b259-da62a397db92" providerId="ADAL" clId="{008C3F84-4C29-4233-992B-2D26DEA7756B}" dt="2023-11-22T07:43:55.909" v="18034" actId="948"/>
          <ac:spMkLst>
            <pc:docMk/>
            <pc:sldMk cId="2492524537" sldId="309"/>
            <ac:spMk id="2" creationId="{F7A7B11F-5560-4450-B29C-AA36EE47DBD5}"/>
          </ac:spMkLst>
        </pc:spChg>
        <pc:spChg chg="add mod">
          <ac:chgData name="Tobias Brammer" userId="80a1e1bd-3b82-47a5-b259-da62a397db92" providerId="ADAL" clId="{008C3F84-4C29-4233-992B-2D26DEA7756B}" dt="2023-11-22T07:50:14.235" v="18376" actId="164"/>
          <ac:spMkLst>
            <pc:docMk/>
            <pc:sldMk cId="2492524537" sldId="309"/>
            <ac:spMk id="5" creationId="{53EA8302-BA34-229A-AB52-5359E6266F4E}"/>
          </ac:spMkLst>
        </pc:spChg>
        <pc:spChg chg="add del mod">
          <ac:chgData name="Tobias Brammer" userId="80a1e1bd-3b82-47a5-b259-da62a397db92" providerId="ADAL" clId="{008C3F84-4C29-4233-992B-2D26DEA7756B}" dt="2023-11-22T07:48:16.664" v="18242" actId="478"/>
          <ac:spMkLst>
            <pc:docMk/>
            <pc:sldMk cId="2492524537" sldId="309"/>
            <ac:spMk id="6" creationId="{B8D77E36-54BF-865D-B884-20B33F04E7BF}"/>
          </ac:spMkLst>
        </pc:spChg>
        <pc:spChg chg="add del mod">
          <ac:chgData name="Tobias Brammer" userId="80a1e1bd-3b82-47a5-b259-da62a397db92" providerId="ADAL" clId="{008C3F84-4C29-4233-992B-2D26DEA7756B}" dt="2023-11-22T07:48:11.716" v="18241" actId="478"/>
          <ac:spMkLst>
            <pc:docMk/>
            <pc:sldMk cId="2492524537" sldId="309"/>
            <ac:spMk id="7" creationId="{0F2A9D18-86FA-C9F5-AD85-187999AD3041}"/>
          </ac:spMkLst>
        </pc:spChg>
        <pc:spChg chg="add mod">
          <ac:chgData name="Tobias Brammer" userId="80a1e1bd-3b82-47a5-b259-da62a397db92" providerId="ADAL" clId="{008C3F84-4C29-4233-992B-2D26DEA7756B}" dt="2023-11-22T07:50:14.235" v="18376" actId="164"/>
          <ac:spMkLst>
            <pc:docMk/>
            <pc:sldMk cId="2492524537" sldId="309"/>
            <ac:spMk id="8" creationId="{B630046A-ED9F-1DDD-CD16-C3D6C299BD38}"/>
          </ac:spMkLst>
        </pc:spChg>
        <pc:spChg chg="add mod">
          <ac:chgData name="Tobias Brammer" userId="80a1e1bd-3b82-47a5-b259-da62a397db92" providerId="ADAL" clId="{008C3F84-4C29-4233-992B-2D26DEA7756B}" dt="2023-11-22T07:50:14.235" v="18376" actId="164"/>
          <ac:spMkLst>
            <pc:docMk/>
            <pc:sldMk cId="2492524537" sldId="309"/>
            <ac:spMk id="9" creationId="{DE91053D-445F-4073-F406-257A81043C53}"/>
          </ac:spMkLst>
        </pc:spChg>
        <pc:spChg chg="mod">
          <ac:chgData name="Tobias Brammer" userId="80a1e1bd-3b82-47a5-b259-da62a397db92" providerId="ADAL" clId="{008C3F84-4C29-4233-992B-2D26DEA7756B}" dt="2023-11-22T07:55:16.549" v="18796" actId="20577"/>
          <ac:spMkLst>
            <pc:docMk/>
            <pc:sldMk cId="2492524537" sldId="309"/>
            <ac:spMk id="10" creationId="{6123F9E9-4EDA-8639-0B90-4D3A855C3D7A}"/>
          </ac:spMkLst>
        </pc:spChg>
        <pc:grpChg chg="add mod">
          <ac:chgData name="Tobias Brammer" userId="80a1e1bd-3b82-47a5-b259-da62a397db92" providerId="ADAL" clId="{008C3F84-4C29-4233-992B-2D26DEA7756B}" dt="2023-11-22T07:50:23.662" v="18386" actId="1038"/>
          <ac:grpSpMkLst>
            <pc:docMk/>
            <pc:sldMk cId="2492524537" sldId="309"/>
            <ac:grpSpMk id="11" creationId="{0F58D1DA-222B-74C6-297E-33EBF5B6B9EA}"/>
          </ac:grpSpMkLst>
        </pc:grpChg>
        <pc:graphicFrameChg chg="mod">
          <ac:chgData name="Tobias Brammer" userId="80a1e1bd-3b82-47a5-b259-da62a397db92" providerId="ADAL" clId="{008C3F84-4C29-4233-992B-2D26DEA7756B}" dt="2023-11-22T07:43:55.921" v="18038"/>
          <ac:graphicFrameMkLst>
            <pc:docMk/>
            <pc:sldMk cId="2492524537" sldId="309"/>
            <ac:graphicFrameMk id="4" creationId="{79C05AFC-9555-D40C-AD9D-3E13BD0A4FC2}"/>
          </ac:graphicFrameMkLst>
        </pc:graphicFrameChg>
        <pc:picChg chg="add mod">
          <ac:chgData name="Tobias Brammer" userId="80a1e1bd-3b82-47a5-b259-da62a397db92" providerId="ADAL" clId="{008C3F84-4C29-4233-992B-2D26DEA7756B}" dt="2023-11-22T07:50:14.235" v="18376" actId="164"/>
          <ac:picMkLst>
            <pc:docMk/>
            <pc:sldMk cId="2492524537" sldId="309"/>
            <ac:picMk id="3" creationId="{45393ACF-1CB5-B03A-ED7C-46A191BF8C1A}"/>
          </ac:picMkLst>
        </pc:picChg>
      </pc:sldChg>
      <pc:sldChg chg="addSp delSp modSp mod">
        <pc:chgData name="Tobias Brammer" userId="80a1e1bd-3b82-47a5-b259-da62a397db92" providerId="ADAL" clId="{008C3F84-4C29-4233-992B-2D26DEA7756B}" dt="2023-12-08T07:04:11.956" v="27217" actId="20577"/>
        <pc:sldMkLst>
          <pc:docMk/>
          <pc:sldMk cId="637503088" sldId="313"/>
        </pc:sldMkLst>
        <pc:spChg chg="add del mod">
          <ac:chgData name="Tobias Brammer" userId="80a1e1bd-3b82-47a5-b259-da62a397db92" providerId="ADAL" clId="{008C3F84-4C29-4233-992B-2D26DEA7756B}" dt="2023-11-21T08:19:01.389" v="3534" actId="478"/>
          <ac:spMkLst>
            <pc:docMk/>
            <pc:sldMk cId="637503088" sldId="313"/>
            <ac:spMk id="2" creationId="{717554C1-514B-8B9B-39B3-21E736E30CC6}"/>
          </ac:spMkLst>
        </pc:spChg>
        <pc:spChg chg="add del mod">
          <ac:chgData name="Tobias Brammer" userId="80a1e1bd-3b82-47a5-b259-da62a397db92" providerId="ADAL" clId="{008C3F84-4C29-4233-992B-2D26DEA7756B}" dt="2023-11-21T08:19:04.657" v="3540" actId="478"/>
          <ac:spMkLst>
            <pc:docMk/>
            <pc:sldMk cId="637503088" sldId="313"/>
            <ac:spMk id="5" creationId="{C0D2EB10-6A46-93E9-084C-667B72F3D44F}"/>
          </ac:spMkLst>
        </pc:spChg>
        <pc:spChg chg="add mod">
          <ac:chgData name="Tobias Brammer" userId="80a1e1bd-3b82-47a5-b259-da62a397db92" providerId="ADAL" clId="{008C3F84-4C29-4233-992B-2D26DEA7756B}" dt="2023-11-21T08:19:10.587" v="3545" actId="1035"/>
          <ac:spMkLst>
            <pc:docMk/>
            <pc:sldMk cId="637503088" sldId="313"/>
            <ac:spMk id="6" creationId="{A84F8E7E-72E1-5233-0246-C698E7D7D176}"/>
          </ac:spMkLst>
        </pc:spChg>
        <pc:spChg chg="del">
          <ac:chgData name="Tobias Brammer" userId="80a1e1bd-3b82-47a5-b259-da62a397db92" providerId="ADAL" clId="{008C3F84-4C29-4233-992B-2D26DEA7756B}" dt="2023-11-21T08:18:28.143" v="3504" actId="478"/>
          <ac:spMkLst>
            <pc:docMk/>
            <pc:sldMk cId="637503088" sldId="313"/>
            <ac:spMk id="15" creationId="{9C6F2DC5-280B-B242-0715-F5482580179E}"/>
          </ac:spMkLst>
        </pc:spChg>
        <pc:spChg chg="mod">
          <ac:chgData name="Tobias Brammer" userId="80a1e1bd-3b82-47a5-b259-da62a397db92" providerId="ADAL" clId="{008C3F84-4C29-4233-992B-2D26DEA7756B}" dt="2023-12-08T07:04:11.956" v="27217" actId="20577"/>
          <ac:spMkLst>
            <pc:docMk/>
            <pc:sldMk cId="637503088" sldId="313"/>
            <ac:spMk id="22" creationId="{E8C399C7-C1E5-D310-9507-782E9AC692AD}"/>
          </ac:spMkLst>
        </pc:spChg>
        <pc:spChg chg="mod">
          <ac:chgData name="Tobias Brammer" userId="80a1e1bd-3b82-47a5-b259-da62a397db92" providerId="ADAL" clId="{008C3F84-4C29-4233-992B-2D26DEA7756B}" dt="2023-12-08T07:03:37.041" v="27162" actId="2711"/>
          <ac:spMkLst>
            <pc:docMk/>
            <pc:sldMk cId="637503088" sldId="313"/>
            <ac:spMk id="23" creationId="{A2CF2E1D-7AB4-1494-0202-03BB4783B61A}"/>
          </ac:spMkLst>
        </pc:spChg>
        <pc:spChg chg="mod">
          <ac:chgData name="Tobias Brammer" userId="80a1e1bd-3b82-47a5-b259-da62a397db92" providerId="ADAL" clId="{008C3F84-4C29-4233-992B-2D26DEA7756B}" dt="2023-12-08T07:03:42.530" v="27163" actId="2711"/>
          <ac:spMkLst>
            <pc:docMk/>
            <pc:sldMk cId="637503088" sldId="313"/>
            <ac:spMk id="24" creationId="{B7CB5A19-F73E-89F5-3B99-742957B1CF2B}"/>
          </ac:spMkLst>
        </pc:spChg>
        <pc:spChg chg="mod">
          <ac:chgData name="Tobias Brammer" userId="80a1e1bd-3b82-47a5-b259-da62a397db92" providerId="ADAL" clId="{008C3F84-4C29-4233-992B-2D26DEA7756B}" dt="2023-12-08T07:03:27.633" v="27160" actId="2711"/>
          <ac:spMkLst>
            <pc:docMk/>
            <pc:sldMk cId="637503088" sldId="313"/>
            <ac:spMk id="28" creationId="{98D9ED06-1B29-6257-5CA9-5B684C58A0A5}"/>
          </ac:spMkLst>
        </pc:spChg>
        <pc:grpChg chg="mod">
          <ac:chgData name="Tobias Brammer" userId="80a1e1bd-3b82-47a5-b259-da62a397db92" providerId="ADAL" clId="{008C3F84-4C29-4233-992B-2D26DEA7756B}" dt="2023-11-21T08:18:43.931" v="3533" actId="1035"/>
          <ac:grpSpMkLst>
            <pc:docMk/>
            <pc:sldMk cId="637503088" sldId="313"/>
            <ac:grpSpMk id="25" creationId="{A2C2722A-AD85-3EE8-5CAB-992F35AC1BCE}"/>
          </ac:grpSpMkLst>
        </pc:grpChg>
        <pc:grpChg chg="mod">
          <ac:chgData name="Tobias Brammer" userId="80a1e1bd-3b82-47a5-b259-da62a397db92" providerId="ADAL" clId="{008C3F84-4C29-4233-992B-2D26DEA7756B}" dt="2023-11-21T08:18:43.931" v="3533" actId="1035"/>
          <ac:grpSpMkLst>
            <pc:docMk/>
            <pc:sldMk cId="637503088" sldId="313"/>
            <ac:grpSpMk id="26" creationId="{BBAB5653-01E6-4085-DCDC-F243ACBDB042}"/>
          </ac:grpSpMkLst>
        </pc:grpChg>
        <pc:grpChg chg="mod">
          <ac:chgData name="Tobias Brammer" userId="80a1e1bd-3b82-47a5-b259-da62a397db92" providerId="ADAL" clId="{008C3F84-4C29-4233-992B-2D26DEA7756B}" dt="2023-11-21T08:18:43.931" v="3533" actId="1035"/>
          <ac:grpSpMkLst>
            <pc:docMk/>
            <pc:sldMk cId="637503088" sldId="313"/>
            <ac:grpSpMk id="31" creationId="{F20FA6EF-6A98-C6F0-3793-BC9C516343D7}"/>
          </ac:grpSpMkLst>
        </pc:grpChg>
        <pc:grpChg chg="mod">
          <ac:chgData name="Tobias Brammer" userId="80a1e1bd-3b82-47a5-b259-da62a397db92" providerId="ADAL" clId="{008C3F84-4C29-4233-992B-2D26DEA7756B}" dt="2023-11-21T08:18:43.931" v="3533" actId="1035"/>
          <ac:grpSpMkLst>
            <pc:docMk/>
            <pc:sldMk cId="637503088" sldId="313"/>
            <ac:grpSpMk id="32" creationId="{B875996F-D7A7-7CE3-9681-69F3418BF28D}"/>
          </ac:grpSpMkLst>
        </pc:grpChg>
        <pc:graphicFrameChg chg="mod">
          <ac:chgData name="Tobias Brammer" userId="80a1e1bd-3b82-47a5-b259-da62a397db92" providerId="ADAL" clId="{008C3F84-4C29-4233-992B-2D26DEA7756B}" dt="2023-11-21T08:19:05.159" v="3544"/>
          <ac:graphicFrameMkLst>
            <pc:docMk/>
            <pc:sldMk cId="637503088" sldId="313"/>
            <ac:graphicFrameMk id="4" creationId="{DA4F5744-822E-272D-9EB9-E4CFFB864E67}"/>
          </ac:graphicFrameMkLst>
        </pc:graphicFrameChg>
      </pc:sldChg>
      <pc:sldChg chg="modSp mod">
        <pc:chgData name="Tobias Brammer" userId="80a1e1bd-3b82-47a5-b259-da62a397db92" providerId="ADAL" clId="{008C3F84-4C29-4233-992B-2D26DEA7756B}" dt="2023-11-22T12:39:57.219" v="23895"/>
        <pc:sldMkLst>
          <pc:docMk/>
          <pc:sldMk cId="1287878720" sldId="314"/>
        </pc:sldMkLst>
        <pc:spChg chg="mod">
          <ac:chgData name="Tobias Brammer" userId="80a1e1bd-3b82-47a5-b259-da62a397db92" providerId="ADAL" clId="{008C3F84-4C29-4233-992B-2D26DEA7756B}" dt="2023-11-22T12:39:57.219" v="23891" actId="948"/>
          <ac:spMkLst>
            <pc:docMk/>
            <pc:sldMk cId="1287878720" sldId="314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39:57.219" v="23895"/>
          <ac:graphicFrameMkLst>
            <pc:docMk/>
            <pc:sldMk cId="1287878720" sldId="314"/>
            <ac:graphicFrameMk id="3" creationId="{AB86B848-EDE9-F4A9-108A-F58D243B51C5}"/>
          </ac:graphicFrameMkLst>
        </pc:graphicFrameChg>
      </pc:sldChg>
      <pc:sldChg chg="modSp mod">
        <pc:chgData name="Tobias Brammer" userId="80a1e1bd-3b82-47a5-b259-da62a397db92" providerId="ADAL" clId="{008C3F84-4C29-4233-992B-2D26DEA7756B}" dt="2023-11-22T12:39:59.439" v="23901"/>
        <pc:sldMkLst>
          <pc:docMk/>
          <pc:sldMk cId="2876952117" sldId="315"/>
        </pc:sldMkLst>
        <pc:spChg chg="mod">
          <ac:chgData name="Tobias Brammer" userId="80a1e1bd-3b82-47a5-b259-da62a397db92" providerId="ADAL" clId="{008C3F84-4C29-4233-992B-2D26DEA7756B}" dt="2023-11-22T12:39:59.424" v="23897" actId="948"/>
          <ac:spMkLst>
            <pc:docMk/>
            <pc:sldMk cId="2876952117" sldId="315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39:59.439" v="23901"/>
          <ac:graphicFrameMkLst>
            <pc:docMk/>
            <pc:sldMk cId="2876952117" sldId="315"/>
            <ac:graphicFrameMk id="3" creationId="{AB86B848-EDE9-F4A9-108A-F58D243B51C5}"/>
          </ac:graphicFrameMkLst>
        </pc:graphicFrameChg>
      </pc:sldChg>
      <pc:sldChg chg="modSp mod">
        <pc:chgData name="Tobias Brammer" userId="80a1e1bd-3b82-47a5-b259-da62a397db92" providerId="ADAL" clId="{008C3F84-4C29-4233-992B-2D26DEA7756B}" dt="2023-11-22T12:40:01.589" v="23907"/>
        <pc:sldMkLst>
          <pc:docMk/>
          <pc:sldMk cId="3608097450" sldId="316"/>
        </pc:sldMkLst>
        <pc:spChg chg="mod">
          <ac:chgData name="Tobias Brammer" userId="80a1e1bd-3b82-47a5-b259-da62a397db92" providerId="ADAL" clId="{008C3F84-4C29-4233-992B-2D26DEA7756B}" dt="2023-11-22T12:40:01.579" v="23903" actId="948"/>
          <ac:spMkLst>
            <pc:docMk/>
            <pc:sldMk cId="3608097450" sldId="316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40:01.589" v="23907"/>
          <ac:graphicFrameMkLst>
            <pc:docMk/>
            <pc:sldMk cId="3608097450" sldId="316"/>
            <ac:graphicFrameMk id="3" creationId="{AB86B848-EDE9-F4A9-108A-F58D243B51C5}"/>
          </ac:graphicFrameMkLst>
        </pc:graphicFrameChg>
      </pc:sldChg>
      <pc:sldChg chg="addSp delSp modSp mod">
        <pc:chgData name="Tobias Brammer" userId="80a1e1bd-3b82-47a5-b259-da62a397db92" providerId="ADAL" clId="{008C3F84-4C29-4233-992B-2D26DEA7756B}" dt="2023-11-22T12:39:38.869" v="23871" actId="22"/>
        <pc:sldMkLst>
          <pc:docMk/>
          <pc:sldMk cId="4003877205" sldId="317"/>
        </pc:sldMkLst>
        <pc:spChg chg="mod">
          <ac:chgData name="Tobias Brammer" userId="80a1e1bd-3b82-47a5-b259-da62a397db92" providerId="ADAL" clId="{008C3F84-4C29-4233-992B-2D26DEA7756B}" dt="2023-11-22T12:39:25.844" v="23864" actId="948"/>
          <ac:spMkLst>
            <pc:docMk/>
            <pc:sldMk cId="4003877205" sldId="317"/>
            <ac:spMk id="2" creationId="{3C6F285B-6BE8-47BE-BAD4-8ACEEFC175A8}"/>
          </ac:spMkLst>
        </pc:spChg>
        <pc:spChg chg="add del">
          <ac:chgData name="Tobias Brammer" userId="80a1e1bd-3b82-47a5-b259-da62a397db92" providerId="ADAL" clId="{008C3F84-4C29-4233-992B-2D26DEA7756B}" dt="2023-11-22T12:39:38.869" v="23871" actId="22"/>
          <ac:spMkLst>
            <pc:docMk/>
            <pc:sldMk cId="4003877205" sldId="317"/>
            <ac:spMk id="19" creationId="{5F0A6C6C-38CD-13B2-2964-D025F39CA4E0}"/>
          </ac:spMkLst>
        </pc:spChg>
        <pc:graphicFrameChg chg="mod">
          <ac:chgData name="Tobias Brammer" userId="80a1e1bd-3b82-47a5-b259-da62a397db92" providerId="ADAL" clId="{008C3F84-4C29-4233-992B-2D26DEA7756B}" dt="2023-11-22T12:39:25.849" v="23868"/>
          <ac:graphicFrameMkLst>
            <pc:docMk/>
            <pc:sldMk cId="4003877205" sldId="317"/>
            <ac:graphicFrameMk id="3" creationId="{AB86B848-EDE9-F4A9-108A-F58D243B51C5}"/>
          </ac:graphicFrameMkLst>
        </pc:graphicFrameChg>
      </pc:sldChg>
      <pc:sldChg chg="modSp mod">
        <pc:chgData name="Tobias Brammer" userId="80a1e1bd-3b82-47a5-b259-da62a397db92" providerId="ADAL" clId="{008C3F84-4C29-4233-992B-2D26DEA7756B}" dt="2023-11-22T12:39:53.249" v="23877"/>
        <pc:sldMkLst>
          <pc:docMk/>
          <pc:sldMk cId="911955254" sldId="318"/>
        </pc:sldMkLst>
        <pc:spChg chg="mod">
          <ac:chgData name="Tobias Brammer" userId="80a1e1bd-3b82-47a5-b259-da62a397db92" providerId="ADAL" clId="{008C3F84-4C29-4233-992B-2D26DEA7756B}" dt="2023-11-22T12:39:53.249" v="23873" actId="948"/>
          <ac:spMkLst>
            <pc:docMk/>
            <pc:sldMk cId="911955254" sldId="318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39:53.249" v="23877"/>
          <ac:graphicFrameMkLst>
            <pc:docMk/>
            <pc:sldMk cId="911955254" sldId="318"/>
            <ac:graphicFrameMk id="3" creationId="{AB86B848-EDE9-F4A9-108A-F58D243B51C5}"/>
          </ac:graphicFrameMkLst>
        </pc:graphicFrameChg>
      </pc:sldChg>
      <pc:sldChg chg="modSp mod">
        <pc:chgData name="Tobias Brammer" userId="80a1e1bd-3b82-47a5-b259-da62a397db92" providerId="ADAL" clId="{008C3F84-4C29-4233-992B-2D26DEA7756B}" dt="2023-11-22T12:39:54.576" v="23883"/>
        <pc:sldMkLst>
          <pc:docMk/>
          <pc:sldMk cId="4180894462" sldId="319"/>
        </pc:sldMkLst>
        <pc:spChg chg="mod">
          <ac:chgData name="Tobias Brammer" userId="80a1e1bd-3b82-47a5-b259-da62a397db92" providerId="ADAL" clId="{008C3F84-4C29-4233-992B-2D26DEA7756B}" dt="2023-11-22T12:39:54.576" v="23879" actId="948"/>
          <ac:spMkLst>
            <pc:docMk/>
            <pc:sldMk cId="4180894462" sldId="319"/>
            <ac:spMk id="2" creationId="{3C6F285B-6BE8-47BE-BAD4-8ACEEFC175A8}"/>
          </ac:spMkLst>
        </pc:spChg>
        <pc:graphicFrameChg chg="mod">
          <ac:chgData name="Tobias Brammer" userId="80a1e1bd-3b82-47a5-b259-da62a397db92" providerId="ADAL" clId="{008C3F84-4C29-4233-992B-2D26DEA7756B}" dt="2023-11-22T12:39:54.576" v="23883"/>
          <ac:graphicFrameMkLst>
            <pc:docMk/>
            <pc:sldMk cId="4180894462" sldId="319"/>
            <ac:graphicFrameMk id="3" creationId="{AB86B848-EDE9-F4A9-108A-F58D243B51C5}"/>
          </ac:graphicFrameMkLst>
        </pc:graphicFrameChg>
      </pc:sldChg>
      <pc:sldChg chg="addSp delSp modSp del mod modTransition modShow">
        <pc:chgData name="Tobias Brammer" userId="80a1e1bd-3b82-47a5-b259-da62a397db92" providerId="ADAL" clId="{008C3F84-4C29-4233-992B-2D26DEA7756B}" dt="2023-11-22T10:17:02.166" v="22362" actId="47"/>
        <pc:sldMkLst>
          <pc:docMk/>
          <pc:sldMk cId="1357849748" sldId="320"/>
        </pc:sldMkLst>
        <pc:spChg chg="mod">
          <ac:chgData name="Tobias Brammer" userId="80a1e1bd-3b82-47a5-b259-da62a397db92" providerId="ADAL" clId="{008C3F84-4C29-4233-992B-2D26DEA7756B}" dt="2023-11-21T08:20:02.541" v="3563" actId="948"/>
          <ac:spMkLst>
            <pc:docMk/>
            <pc:sldMk cId="1357849748" sldId="320"/>
            <ac:spMk id="10" creationId="{AF9B0DCC-E14E-05AE-4D33-CE315A7426D6}"/>
          </ac:spMkLst>
        </pc:spChg>
        <pc:graphicFrameChg chg="mod">
          <ac:chgData name="Tobias Brammer" userId="80a1e1bd-3b82-47a5-b259-da62a397db92" providerId="ADAL" clId="{008C3F84-4C29-4233-992B-2D26DEA7756B}" dt="2023-11-21T08:20:02.546" v="3567"/>
          <ac:graphicFrameMkLst>
            <pc:docMk/>
            <pc:sldMk cId="1357849748" sldId="320"/>
            <ac:graphicFrameMk id="4" creationId="{79C05AFC-9555-D40C-AD9D-3E13BD0A4FC2}"/>
          </ac:graphicFrameMkLst>
        </pc:graphicFrameChg>
        <pc:picChg chg="add del mod replST">
          <ac:chgData name="Tobias Brammer" userId="80a1e1bd-3b82-47a5-b259-da62a397db92" providerId="ADAL" clId="{008C3F84-4C29-4233-992B-2D26DEA7756B}" dt="2023-11-21T07:38:35.711" v="1027" actId="478"/>
          <ac:picMkLst>
            <pc:docMk/>
            <pc:sldMk cId="1357849748" sldId="320"/>
            <ac:picMk id="3" creationId="{0692F01C-92C2-C4BA-C148-06D37117F892}"/>
          </ac:picMkLst>
        </pc:picChg>
        <pc:picChg chg="del mod ord replST">
          <ac:chgData name="Tobias Brammer" userId="80a1e1bd-3b82-47a5-b259-da62a397db92" providerId="ADAL" clId="{008C3F84-4C29-4233-992B-2D26DEA7756B}" dt="2023-11-21T07:38:52.099" v="1058" actId="478"/>
          <ac:picMkLst>
            <pc:docMk/>
            <pc:sldMk cId="1357849748" sldId="320"/>
            <ac:picMk id="7" creationId="{80C1B9F6-CECC-369B-BB02-339DC8AB677C}"/>
          </ac:picMkLst>
        </pc:picChg>
        <pc:picChg chg="del mod ord replST">
          <ac:chgData name="Tobias Brammer" userId="80a1e1bd-3b82-47a5-b259-da62a397db92" providerId="ADAL" clId="{008C3F84-4C29-4233-992B-2D26DEA7756B}" dt="2023-11-21T07:44:34.384" v="1096" actId="478"/>
          <ac:picMkLst>
            <pc:docMk/>
            <pc:sldMk cId="1357849748" sldId="320"/>
            <ac:picMk id="9" creationId="{F62F52CA-FC3F-DFC6-9DE1-A7AE33A70760}"/>
          </ac:picMkLst>
        </pc:picChg>
      </pc:sldChg>
      <pc:sldChg chg="del">
        <pc:chgData name="Tobias Brammer" userId="80a1e1bd-3b82-47a5-b259-da62a397db92" providerId="ADAL" clId="{008C3F84-4C29-4233-992B-2D26DEA7756B}" dt="2023-11-21T07:59:55.467" v="2884" actId="47"/>
        <pc:sldMkLst>
          <pc:docMk/>
          <pc:sldMk cId="1578015824" sldId="321"/>
        </pc:sldMkLst>
      </pc:sldChg>
      <pc:sldChg chg="delSp modSp del mod modTransition modShow">
        <pc:chgData name="Tobias Brammer" userId="80a1e1bd-3b82-47a5-b259-da62a397db92" providerId="ADAL" clId="{008C3F84-4C29-4233-992B-2D26DEA7756B}" dt="2023-11-22T10:17:02.166" v="22362" actId="47"/>
        <pc:sldMkLst>
          <pc:docMk/>
          <pc:sldMk cId="2844577089" sldId="323"/>
        </pc:sldMkLst>
        <pc:spChg chg="mod">
          <ac:chgData name="Tobias Brammer" userId="80a1e1bd-3b82-47a5-b259-da62a397db92" providerId="ADAL" clId="{008C3F84-4C29-4233-992B-2D26DEA7756B}" dt="2023-11-21T08:19:58.030" v="3550" actId="948"/>
          <ac:spMkLst>
            <pc:docMk/>
            <pc:sldMk cId="2844577089" sldId="323"/>
            <ac:spMk id="10" creationId="{AF9B0DCC-E14E-05AE-4D33-CE315A7426D6}"/>
          </ac:spMkLst>
        </pc:spChg>
        <pc:graphicFrameChg chg="mod">
          <ac:chgData name="Tobias Brammer" userId="80a1e1bd-3b82-47a5-b259-da62a397db92" providerId="ADAL" clId="{008C3F84-4C29-4233-992B-2D26DEA7756B}" dt="2023-11-21T08:19:58.035" v="3554"/>
          <ac:graphicFrameMkLst>
            <pc:docMk/>
            <pc:sldMk cId="2844577089" sldId="323"/>
            <ac:graphicFrameMk id="4" creationId="{79C05AFC-9555-D40C-AD9D-3E13BD0A4FC2}"/>
          </ac:graphicFrameMkLst>
        </pc:graphicFrameChg>
        <pc:picChg chg="del">
          <ac:chgData name="Tobias Brammer" userId="80a1e1bd-3b82-47a5-b259-da62a397db92" providerId="ADAL" clId="{008C3F84-4C29-4233-992B-2D26DEA7756B}" dt="2023-11-22T10:16:56.925" v="22361" actId="478"/>
          <ac:picMkLst>
            <pc:docMk/>
            <pc:sldMk cId="2844577089" sldId="323"/>
            <ac:picMk id="9" creationId="{E15673A4-9DF1-0497-61E6-DB151E491FFE}"/>
          </ac:picMkLst>
        </pc:picChg>
      </pc:sldChg>
      <pc:sldChg chg="modSp del mod">
        <pc:chgData name="Tobias Brammer" userId="80a1e1bd-3b82-47a5-b259-da62a397db92" providerId="ADAL" clId="{008C3F84-4C29-4233-992B-2D26DEA7756B}" dt="2023-11-22T09:49:25.934" v="21978" actId="47"/>
        <pc:sldMkLst>
          <pc:docMk/>
          <pc:sldMk cId="3780667075" sldId="324"/>
        </pc:sldMkLst>
        <pc:spChg chg="mod">
          <ac:chgData name="Tobias Brammer" userId="80a1e1bd-3b82-47a5-b259-da62a397db92" providerId="ADAL" clId="{008C3F84-4C29-4233-992B-2D26DEA7756B}" dt="2023-11-21T08:04:43.895" v="3265" actId="404"/>
          <ac:spMkLst>
            <pc:docMk/>
            <pc:sldMk cId="3780667075" sldId="324"/>
            <ac:spMk id="10" creationId="{6123F9E9-4EDA-8639-0B90-4D3A855C3D7A}"/>
          </ac:spMkLst>
        </pc:spChg>
      </pc:sldChg>
      <pc:sldChg chg="del modNotesTx">
        <pc:chgData name="Tobias Brammer" userId="80a1e1bd-3b82-47a5-b259-da62a397db92" providerId="ADAL" clId="{008C3F84-4C29-4233-992B-2D26DEA7756B}" dt="2023-11-22T09:49:32.197" v="21979" actId="47"/>
        <pc:sldMkLst>
          <pc:docMk/>
          <pc:sldMk cId="2214565963" sldId="325"/>
        </pc:sldMkLst>
      </pc:sldChg>
      <pc:sldChg chg="mod modTransition modShow">
        <pc:chgData name="Tobias Brammer" userId="80a1e1bd-3b82-47a5-b259-da62a397db92" providerId="ADAL" clId="{008C3F84-4C29-4233-992B-2D26DEA7756B}" dt="2023-11-21T09:11:36.876" v="18022"/>
        <pc:sldMkLst>
          <pc:docMk/>
          <pc:sldMk cId="3972108527" sldId="326"/>
        </pc:sldMkLst>
      </pc:sldChg>
      <pc:sldChg chg="modSp del mod modNotesTx">
        <pc:chgData name="Tobias Brammer" userId="80a1e1bd-3b82-47a5-b259-da62a397db92" providerId="ADAL" clId="{008C3F84-4C29-4233-992B-2D26DEA7756B}" dt="2023-11-21T07:48:09.751" v="1602" actId="47"/>
        <pc:sldMkLst>
          <pc:docMk/>
          <pc:sldMk cId="762254632" sldId="327"/>
        </pc:sldMkLst>
        <pc:spChg chg="mod">
          <ac:chgData name="Tobias Brammer" userId="80a1e1bd-3b82-47a5-b259-da62a397db92" providerId="ADAL" clId="{008C3F84-4C29-4233-992B-2D26DEA7756B}" dt="2023-11-21T07:43:39.264" v="1087" actId="1076"/>
          <ac:spMkLst>
            <pc:docMk/>
            <pc:sldMk cId="762254632" sldId="327"/>
            <ac:spMk id="5" creationId="{0256447C-D35F-4F86-D90B-E90F6B46AE7F}"/>
          </ac:spMkLst>
        </pc:spChg>
        <pc:picChg chg="mod">
          <ac:chgData name="Tobias Brammer" userId="80a1e1bd-3b82-47a5-b259-da62a397db92" providerId="ADAL" clId="{008C3F84-4C29-4233-992B-2D26DEA7756B}" dt="2023-11-21T07:43:59.277" v="1089" actId="1076"/>
          <ac:picMkLst>
            <pc:docMk/>
            <pc:sldMk cId="762254632" sldId="327"/>
            <ac:picMk id="9" creationId="{0F345685-9460-E07A-59BB-0DD576793740}"/>
          </ac:picMkLst>
        </pc:picChg>
        <pc:picChg chg="mod">
          <ac:chgData name="Tobias Brammer" userId="80a1e1bd-3b82-47a5-b259-da62a397db92" providerId="ADAL" clId="{008C3F84-4C29-4233-992B-2D26DEA7756B}" dt="2023-11-21T07:43:50.800" v="1088" actId="1076"/>
          <ac:picMkLst>
            <pc:docMk/>
            <pc:sldMk cId="762254632" sldId="327"/>
            <ac:picMk id="12" creationId="{47664333-D894-5056-83A2-6BDBEC61091C}"/>
          </ac:picMkLst>
        </pc:picChg>
      </pc:sldChg>
      <pc:sldChg chg="del">
        <pc:chgData name="Tobias Brammer" userId="80a1e1bd-3b82-47a5-b259-da62a397db92" providerId="ADAL" clId="{008C3F84-4C29-4233-992B-2D26DEA7756B}" dt="2023-11-22T09:49:33.965" v="21980" actId="47"/>
        <pc:sldMkLst>
          <pc:docMk/>
          <pc:sldMk cId="3444026750" sldId="328"/>
        </pc:sldMkLst>
      </pc:sldChg>
      <pc:sldChg chg="addSp delSp modSp mod">
        <pc:chgData name="Tobias Brammer" userId="80a1e1bd-3b82-47a5-b259-da62a397db92" providerId="ADAL" clId="{008C3F84-4C29-4233-992B-2D26DEA7756B}" dt="2023-12-08T10:26:43.668" v="27639"/>
        <pc:sldMkLst>
          <pc:docMk/>
          <pc:sldMk cId="1279689104" sldId="329"/>
        </pc:sldMkLst>
        <pc:spChg chg="add mod">
          <ac:chgData name="Tobias Brammer" userId="80a1e1bd-3b82-47a5-b259-da62a397db92" providerId="ADAL" clId="{008C3F84-4C29-4233-992B-2D26DEA7756B}" dt="2023-12-08T10:26:43.668" v="27639"/>
          <ac:spMkLst>
            <pc:docMk/>
            <pc:sldMk cId="1279689104" sldId="329"/>
            <ac:spMk id="5" creationId="{FDB168B4-226A-3038-7E4F-5F31E376202E}"/>
          </ac:spMkLst>
        </pc:spChg>
        <pc:spChg chg="mod">
          <ac:chgData name="Tobias Brammer" userId="80a1e1bd-3b82-47a5-b259-da62a397db92" providerId="ADAL" clId="{008C3F84-4C29-4233-992B-2D26DEA7756B}" dt="2023-12-08T08:54:40.868" v="27563" actId="20577"/>
          <ac:spMkLst>
            <pc:docMk/>
            <pc:sldMk cId="1279689104" sldId="329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6:08.010" v="26647"/>
          <ac:grpSpMkLst>
            <pc:docMk/>
            <pc:sldMk cId="1279689104" sldId="329"/>
            <ac:grpSpMk id="3" creationId="{F1AAFC5B-EC4B-A1F0-32C4-78F6A476999C}"/>
          </ac:grpSpMkLst>
        </pc:grpChg>
        <pc:grpChg chg="mod">
          <ac:chgData name="Tobias Brammer" userId="80a1e1bd-3b82-47a5-b259-da62a397db92" providerId="ADAL" clId="{008C3F84-4C29-4233-992B-2D26DEA7756B}" dt="2023-11-22T14:26:08.010" v="26647"/>
          <ac:grpSpMkLst>
            <pc:docMk/>
            <pc:sldMk cId="1279689104" sldId="329"/>
            <ac:grpSpMk id="6" creationId="{4A12BD11-A146-DADB-4B00-503EC1CC6F0B}"/>
          </ac:grpSpMkLst>
        </pc:grpChg>
        <pc:grpChg chg="mod">
          <ac:chgData name="Tobias Brammer" userId="80a1e1bd-3b82-47a5-b259-da62a397db92" providerId="ADAL" clId="{008C3F84-4C29-4233-992B-2D26DEA7756B}" dt="2023-11-22T14:26:08.010" v="26647"/>
          <ac:grpSpMkLst>
            <pc:docMk/>
            <pc:sldMk cId="1279689104" sldId="329"/>
            <ac:grpSpMk id="7" creationId="{B5DEECF3-10BC-9E02-2E13-86BAA74DBD72}"/>
          </ac:grpSpMkLst>
        </pc:grpChg>
        <pc:picChg chg="add del mod">
          <ac:chgData name="Tobias Brammer" userId="80a1e1bd-3b82-47a5-b259-da62a397db92" providerId="ADAL" clId="{008C3F84-4C29-4233-992B-2D26DEA7756B}" dt="2023-11-21T08:56:37.487" v="16658" actId="478"/>
          <ac:picMkLst>
            <pc:docMk/>
            <pc:sldMk cId="1279689104" sldId="329"/>
            <ac:picMk id="3" creationId="{0070F8FB-CEAA-7DA6-3980-C1875ED82F51}"/>
          </ac:picMkLst>
        </pc:picChg>
        <pc:picChg chg="add del mod">
          <ac:chgData name="Tobias Brammer" userId="80a1e1bd-3b82-47a5-b259-da62a397db92" providerId="ADAL" clId="{008C3F84-4C29-4233-992B-2D26DEA7756B}" dt="2023-11-22T14:26:02.303" v="26644" actId="478"/>
          <ac:picMkLst>
            <pc:docMk/>
            <pc:sldMk cId="1279689104" sldId="329"/>
            <ac:picMk id="5" creationId="{1ED0200A-B50E-15E7-CE95-1D7A4E0500E3}"/>
          </ac:picMkLst>
        </pc:picChg>
        <pc:picChg chg="mod">
          <ac:chgData name="Tobias Brammer" userId="80a1e1bd-3b82-47a5-b259-da62a397db92" providerId="ADAL" clId="{008C3F84-4C29-4233-992B-2D26DEA7756B}" dt="2023-11-22T14:26:08.010" v="26647"/>
          <ac:picMkLst>
            <pc:docMk/>
            <pc:sldMk cId="1279689104" sldId="329"/>
            <ac:picMk id="9" creationId="{E4A5D7A0-04C7-01D2-6087-C29093E137EB}"/>
          </ac:picMkLst>
        </pc:picChg>
        <pc:picChg chg="mod">
          <ac:chgData name="Tobias Brammer" userId="80a1e1bd-3b82-47a5-b259-da62a397db92" providerId="ADAL" clId="{008C3F84-4C29-4233-992B-2D26DEA7756B}" dt="2023-11-22T14:26:08.010" v="26647"/>
          <ac:picMkLst>
            <pc:docMk/>
            <pc:sldMk cId="1279689104" sldId="329"/>
            <ac:picMk id="10" creationId="{D6DCC60D-7EE4-DDAF-5625-E1BE5825885D}"/>
          </ac:picMkLst>
        </pc:picChg>
        <pc:picChg chg="mod">
          <ac:chgData name="Tobias Brammer" userId="80a1e1bd-3b82-47a5-b259-da62a397db92" providerId="ADAL" clId="{008C3F84-4C29-4233-992B-2D26DEA7756B}" dt="2023-11-22T14:26:08.010" v="26647"/>
          <ac:picMkLst>
            <pc:docMk/>
            <pc:sldMk cId="1279689104" sldId="329"/>
            <ac:picMk id="11" creationId="{F5206F32-8AF1-7675-71F6-860F0E82F17D}"/>
          </ac:picMkLst>
        </pc:picChg>
        <pc:picChg chg="mod">
          <ac:chgData name="Tobias Brammer" userId="80a1e1bd-3b82-47a5-b259-da62a397db92" providerId="ADAL" clId="{008C3F84-4C29-4233-992B-2D26DEA7756B}" dt="2023-11-21T06:50:42.415" v="20" actId="14826"/>
          <ac:picMkLst>
            <pc:docMk/>
            <pc:sldMk cId="1279689104" sldId="329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6:08.010" v="26647"/>
          <ac:picMkLst>
            <pc:docMk/>
            <pc:sldMk cId="1279689104" sldId="329"/>
            <ac:picMk id="13" creationId="{78FC99CD-F002-C20F-1196-A17D72658DAF}"/>
          </ac:picMkLst>
        </pc:picChg>
      </pc:sldChg>
      <pc:sldChg chg="addSp delSp modSp mod">
        <pc:chgData name="Tobias Brammer" userId="80a1e1bd-3b82-47a5-b259-da62a397db92" providerId="ADAL" clId="{008C3F84-4C29-4233-992B-2D26DEA7756B}" dt="2023-12-08T10:26:37.551" v="27638" actId="1036"/>
        <pc:sldMkLst>
          <pc:docMk/>
          <pc:sldMk cId="3816713439" sldId="330"/>
        </pc:sldMkLst>
        <pc:spChg chg="add del mod">
          <ac:chgData name="Tobias Brammer" userId="80a1e1bd-3b82-47a5-b259-da62a397db92" providerId="ADAL" clId="{008C3F84-4C29-4233-992B-2D26DEA7756B}" dt="2023-12-08T10:25:32.928" v="27572"/>
          <ac:spMkLst>
            <pc:docMk/>
            <pc:sldMk cId="3816713439" sldId="330"/>
            <ac:spMk id="6" creationId="{82FDA846-07BC-6AC7-D32F-5B4DB07108E5}"/>
          </ac:spMkLst>
        </pc:spChg>
        <pc:spChg chg="mod">
          <ac:chgData name="Tobias Brammer" userId="80a1e1bd-3b82-47a5-b259-da62a397db92" providerId="ADAL" clId="{008C3F84-4C29-4233-992B-2D26DEA7756B}" dt="2023-12-08T10:25:16.638" v="27568" actId="14100"/>
          <ac:spMkLst>
            <pc:docMk/>
            <pc:sldMk cId="3816713439" sldId="330"/>
            <ac:spMk id="8" creationId="{9974A259-DC86-27AE-073B-E1B517848965}"/>
          </ac:spMkLst>
        </pc:spChg>
        <pc:spChg chg="add mod">
          <ac:chgData name="Tobias Brammer" userId="80a1e1bd-3b82-47a5-b259-da62a397db92" providerId="ADAL" clId="{008C3F84-4C29-4233-992B-2D26DEA7756B}" dt="2023-12-08T10:26:37.551" v="27638" actId="1036"/>
          <ac:spMkLst>
            <pc:docMk/>
            <pc:sldMk cId="3816713439" sldId="330"/>
            <ac:spMk id="14" creationId="{278EB767-683E-F457-686E-FB25CC2E9A34}"/>
          </ac:spMkLst>
        </pc:spChg>
        <pc:grpChg chg="add mod">
          <ac:chgData name="Tobias Brammer" userId="80a1e1bd-3b82-47a5-b259-da62a397db92" providerId="ADAL" clId="{008C3F84-4C29-4233-992B-2D26DEA7756B}" dt="2023-11-22T14:26:05.675" v="26646"/>
          <ac:grpSpMkLst>
            <pc:docMk/>
            <pc:sldMk cId="3816713439" sldId="330"/>
            <ac:grpSpMk id="3" creationId="{06D8E1AD-9028-8B25-B376-2FE77088E063}"/>
          </ac:grpSpMkLst>
        </pc:grpChg>
        <pc:grpChg chg="mod">
          <ac:chgData name="Tobias Brammer" userId="80a1e1bd-3b82-47a5-b259-da62a397db92" providerId="ADAL" clId="{008C3F84-4C29-4233-992B-2D26DEA7756B}" dt="2023-11-22T14:26:05.675" v="26646"/>
          <ac:grpSpMkLst>
            <pc:docMk/>
            <pc:sldMk cId="3816713439" sldId="330"/>
            <ac:grpSpMk id="5" creationId="{E3950B47-7D66-1D8F-478C-110978382044}"/>
          </ac:grpSpMkLst>
        </pc:grpChg>
        <pc:grpChg chg="mod">
          <ac:chgData name="Tobias Brammer" userId="80a1e1bd-3b82-47a5-b259-da62a397db92" providerId="ADAL" clId="{008C3F84-4C29-4233-992B-2D26DEA7756B}" dt="2023-11-22T14:26:05.675" v="26646"/>
          <ac:grpSpMkLst>
            <pc:docMk/>
            <pc:sldMk cId="3816713439" sldId="330"/>
            <ac:grpSpMk id="7" creationId="{0B555891-A095-2D29-1CD3-9DABAB02B436}"/>
          </ac:grpSpMkLst>
        </pc:grpChg>
        <pc:picChg chg="del mod replST">
          <ac:chgData name="Tobias Brammer" userId="80a1e1bd-3b82-47a5-b259-da62a397db92" providerId="ADAL" clId="{008C3F84-4C29-4233-992B-2D26DEA7756B}" dt="2023-11-21T08:56:38.783" v="16659" actId="478"/>
          <ac:picMkLst>
            <pc:docMk/>
            <pc:sldMk cId="3816713439" sldId="330"/>
            <ac:picMk id="5" creationId="{36656A0C-07DF-31CA-981D-C9F9C19290F7}"/>
          </ac:picMkLst>
        </pc:picChg>
        <pc:picChg chg="add del mod">
          <ac:chgData name="Tobias Brammer" userId="80a1e1bd-3b82-47a5-b259-da62a397db92" providerId="ADAL" clId="{008C3F84-4C29-4233-992B-2D26DEA7756B}" dt="2023-11-22T14:26:04.819" v="26645" actId="478"/>
          <ac:picMkLst>
            <pc:docMk/>
            <pc:sldMk cId="3816713439" sldId="330"/>
            <ac:picMk id="6" creationId="{CC09BA07-FB99-0CBB-028F-8EDA141C0993}"/>
          </ac:picMkLst>
        </pc:picChg>
        <pc:picChg chg="mod">
          <ac:chgData name="Tobias Brammer" userId="80a1e1bd-3b82-47a5-b259-da62a397db92" providerId="ADAL" clId="{008C3F84-4C29-4233-992B-2D26DEA7756B}" dt="2023-11-22T14:26:05.675" v="26646"/>
          <ac:picMkLst>
            <pc:docMk/>
            <pc:sldMk cId="3816713439" sldId="330"/>
            <ac:picMk id="9" creationId="{88D83FC4-E8AC-E4E2-F390-EA81617C0AD9}"/>
          </ac:picMkLst>
        </pc:picChg>
        <pc:picChg chg="mod">
          <ac:chgData name="Tobias Brammer" userId="80a1e1bd-3b82-47a5-b259-da62a397db92" providerId="ADAL" clId="{008C3F84-4C29-4233-992B-2D26DEA7756B}" dt="2023-11-22T14:26:05.675" v="26646"/>
          <ac:picMkLst>
            <pc:docMk/>
            <pc:sldMk cId="3816713439" sldId="330"/>
            <ac:picMk id="10" creationId="{5FA5C6F4-A4DE-4E2A-A804-9407CC006923}"/>
          </ac:picMkLst>
        </pc:picChg>
        <pc:picChg chg="mod">
          <ac:chgData name="Tobias Brammer" userId="80a1e1bd-3b82-47a5-b259-da62a397db92" providerId="ADAL" clId="{008C3F84-4C29-4233-992B-2D26DEA7756B}" dt="2023-11-22T14:26:05.675" v="26646"/>
          <ac:picMkLst>
            <pc:docMk/>
            <pc:sldMk cId="3816713439" sldId="330"/>
            <ac:picMk id="11" creationId="{CFDA80F7-43D1-F20A-C2BB-FA077EAD061B}"/>
          </ac:picMkLst>
        </pc:picChg>
        <pc:picChg chg="mod">
          <ac:chgData name="Tobias Brammer" userId="80a1e1bd-3b82-47a5-b259-da62a397db92" providerId="ADAL" clId="{008C3F84-4C29-4233-992B-2D26DEA7756B}" dt="2023-11-21T06:50:16.243" v="19" actId="14826"/>
          <ac:picMkLst>
            <pc:docMk/>
            <pc:sldMk cId="3816713439" sldId="330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6:05.675" v="26646"/>
          <ac:picMkLst>
            <pc:docMk/>
            <pc:sldMk cId="3816713439" sldId="330"/>
            <ac:picMk id="13" creationId="{ADDC3691-7B4E-DE05-36C0-0BA8171ADBB3}"/>
          </ac:picMkLst>
        </pc:picChg>
      </pc:sldChg>
      <pc:sldChg chg="addSp delSp modSp mod">
        <pc:chgData name="Tobias Brammer" userId="80a1e1bd-3b82-47a5-b259-da62a397db92" providerId="ADAL" clId="{008C3F84-4C29-4233-992B-2D26DEA7756B}" dt="2023-12-08T10:26:45.100" v="27640"/>
        <pc:sldMkLst>
          <pc:docMk/>
          <pc:sldMk cId="2198107308" sldId="331"/>
        </pc:sldMkLst>
        <pc:spChg chg="add mod">
          <ac:chgData name="Tobias Brammer" userId="80a1e1bd-3b82-47a5-b259-da62a397db92" providerId="ADAL" clId="{008C3F84-4C29-4233-992B-2D26DEA7756B}" dt="2023-12-08T10:26:45.100" v="27640"/>
          <ac:spMkLst>
            <pc:docMk/>
            <pc:sldMk cId="2198107308" sldId="331"/>
            <ac:spMk id="5" creationId="{298AD440-7629-2A29-ABFE-76982FD91ADB}"/>
          </ac:spMkLst>
        </pc:spChg>
        <pc:spChg chg="mod">
          <ac:chgData name="Tobias Brammer" userId="80a1e1bd-3b82-47a5-b259-da62a397db92" providerId="ADAL" clId="{008C3F84-4C29-4233-992B-2D26DEA7756B}" dt="2023-12-08T08:54:51.890" v="27564"/>
          <ac:spMkLst>
            <pc:docMk/>
            <pc:sldMk cId="2198107308" sldId="331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6:00" v="26643"/>
          <ac:grpSpMkLst>
            <pc:docMk/>
            <pc:sldMk cId="2198107308" sldId="331"/>
            <ac:grpSpMk id="3" creationId="{CD253F5C-156F-C4BB-5C1E-2F88560E6A94}"/>
          </ac:grpSpMkLst>
        </pc:grpChg>
        <pc:grpChg chg="mod">
          <ac:chgData name="Tobias Brammer" userId="80a1e1bd-3b82-47a5-b259-da62a397db92" providerId="ADAL" clId="{008C3F84-4C29-4233-992B-2D26DEA7756B}" dt="2023-11-22T14:26:00" v="26643"/>
          <ac:grpSpMkLst>
            <pc:docMk/>
            <pc:sldMk cId="2198107308" sldId="331"/>
            <ac:grpSpMk id="6" creationId="{E327CB6D-44DC-4166-8F5C-FE7F70E69A5D}"/>
          </ac:grpSpMkLst>
        </pc:grpChg>
        <pc:grpChg chg="mod">
          <ac:chgData name="Tobias Brammer" userId="80a1e1bd-3b82-47a5-b259-da62a397db92" providerId="ADAL" clId="{008C3F84-4C29-4233-992B-2D26DEA7756B}" dt="2023-11-22T14:26:00" v="26643"/>
          <ac:grpSpMkLst>
            <pc:docMk/>
            <pc:sldMk cId="2198107308" sldId="331"/>
            <ac:grpSpMk id="7" creationId="{66E65036-491F-8561-7F36-26349ED8A1BD}"/>
          </ac:grpSpMkLst>
        </pc:grpChg>
        <pc:picChg chg="add del mod">
          <ac:chgData name="Tobias Brammer" userId="80a1e1bd-3b82-47a5-b259-da62a397db92" providerId="ADAL" clId="{008C3F84-4C29-4233-992B-2D26DEA7756B}" dt="2023-11-21T08:56:35.902" v="16657" actId="478"/>
          <ac:picMkLst>
            <pc:docMk/>
            <pc:sldMk cId="2198107308" sldId="331"/>
            <ac:picMk id="3" creationId="{DFC37639-8A45-829E-8D5F-E893BCBFE013}"/>
          </ac:picMkLst>
        </pc:picChg>
        <pc:picChg chg="add del mod">
          <ac:chgData name="Tobias Brammer" userId="80a1e1bd-3b82-47a5-b259-da62a397db92" providerId="ADAL" clId="{008C3F84-4C29-4233-992B-2D26DEA7756B}" dt="2023-11-22T14:25:59.070" v="26642" actId="478"/>
          <ac:picMkLst>
            <pc:docMk/>
            <pc:sldMk cId="2198107308" sldId="331"/>
            <ac:picMk id="5" creationId="{4655B969-C4CA-FC5A-9D60-2702F8B6808E}"/>
          </ac:picMkLst>
        </pc:picChg>
        <pc:picChg chg="mod">
          <ac:chgData name="Tobias Brammer" userId="80a1e1bd-3b82-47a5-b259-da62a397db92" providerId="ADAL" clId="{008C3F84-4C29-4233-992B-2D26DEA7756B}" dt="2023-11-22T14:26:00" v="26643"/>
          <ac:picMkLst>
            <pc:docMk/>
            <pc:sldMk cId="2198107308" sldId="331"/>
            <ac:picMk id="9" creationId="{4C22960A-20BE-33FF-1367-F0E4C673626C}"/>
          </ac:picMkLst>
        </pc:picChg>
        <pc:picChg chg="mod">
          <ac:chgData name="Tobias Brammer" userId="80a1e1bd-3b82-47a5-b259-da62a397db92" providerId="ADAL" clId="{008C3F84-4C29-4233-992B-2D26DEA7756B}" dt="2023-11-22T14:26:00" v="26643"/>
          <ac:picMkLst>
            <pc:docMk/>
            <pc:sldMk cId="2198107308" sldId="331"/>
            <ac:picMk id="10" creationId="{8E20E7B4-8CE9-0249-C523-F694311B2119}"/>
          </ac:picMkLst>
        </pc:picChg>
        <pc:picChg chg="mod">
          <ac:chgData name="Tobias Brammer" userId="80a1e1bd-3b82-47a5-b259-da62a397db92" providerId="ADAL" clId="{008C3F84-4C29-4233-992B-2D26DEA7756B}" dt="2023-11-22T14:26:00" v="26643"/>
          <ac:picMkLst>
            <pc:docMk/>
            <pc:sldMk cId="2198107308" sldId="331"/>
            <ac:picMk id="11" creationId="{E6C51D25-07EC-F10E-B13B-E81C02B14FFA}"/>
          </ac:picMkLst>
        </pc:picChg>
        <pc:picChg chg="mod">
          <ac:chgData name="Tobias Brammer" userId="80a1e1bd-3b82-47a5-b259-da62a397db92" providerId="ADAL" clId="{008C3F84-4C29-4233-992B-2D26DEA7756B}" dt="2023-12-07T13:53:13.292" v="26674" actId="14826"/>
          <ac:picMkLst>
            <pc:docMk/>
            <pc:sldMk cId="2198107308" sldId="331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6:00" v="26643"/>
          <ac:picMkLst>
            <pc:docMk/>
            <pc:sldMk cId="2198107308" sldId="331"/>
            <ac:picMk id="13" creationId="{544AF9E7-FA0D-EFB2-C186-8B71E9D5A6CD}"/>
          </ac:picMkLst>
        </pc:picChg>
      </pc:sldChg>
      <pc:sldChg chg="addSp delSp modSp mod">
        <pc:chgData name="Tobias Brammer" userId="80a1e1bd-3b82-47a5-b259-da62a397db92" providerId="ADAL" clId="{008C3F84-4C29-4233-992B-2D26DEA7756B}" dt="2023-12-08T10:26:52.037" v="27646"/>
        <pc:sldMkLst>
          <pc:docMk/>
          <pc:sldMk cId="1431617520" sldId="332"/>
        </pc:sldMkLst>
        <pc:spChg chg="add mod">
          <ac:chgData name="Tobias Brammer" userId="80a1e1bd-3b82-47a5-b259-da62a397db92" providerId="ADAL" clId="{008C3F84-4C29-4233-992B-2D26DEA7756B}" dt="2023-12-08T10:26:52.037" v="27646"/>
          <ac:spMkLst>
            <pc:docMk/>
            <pc:sldMk cId="1431617520" sldId="332"/>
            <ac:spMk id="5" creationId="{A6379342-9B4B-0D5C-CEBE-CA8E1462BD2F}"/>
          </ac:spMkLst>
        </pc:spChg>
        <pc:spChg chg="mod">
          <ac:chgData name="Tobias Brammer" userId="80a1e1bd-3b82-47a5-b259-da62a397db92" providerId="ADAL" clId="{008C3F84-4C29-4233-992B-2D26DEA7756B}" dt="2023-11-22T14:27:06.053" v="26650" actId="113"/>
          <ac:spMkLst>
            <pc:docMk/>
            <pc:sldMk cId="1431617520" sldId="332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38.814" v="26632"/>
          <ac:grpSpMkLst>
            <pc:docMk/>
            <pc:sldMk cId="1431617520" sldId="332"/>
            <ac:grpSpMk id="3" creationId="{4F939BB4-F1B4-A6F2-E352-5C1D6E43E279}"/>
          </ac:grpSpMkLst>
        </pc:grpChg>
        <pc:grpChg chg="mod">
          <ac:chgData name="Tobias Brammer" userId="80a1e1bd-3b82-47a5-b259-da62a397db92" providerId="ADAL" clId="{008C3F84-4C29-4233-992B-2D26DEA7756B}" dt="2023-11-22T14:25:38.814" v="26632"/>
          <ac:grpSpMkLst>
            <pc:docMk/>
            <pc:sldMk cId="1431617520" sldId="332"/>
            <ac:grpSpMk id="6" creationId="{60C737D2-E4DE-637D-BCE5-3AEFF1CD7773}"/>
          </ac:grpSpMkLst>
        </pc:grpChg>
        <pc:grpChg chg="mod">
          <ac:chgData name="Tobias Brammer" userId="80a1e1bd-3b82-47a5-b259-da62a397db92" providerId="ADAL" clId="{008C3F84-4C29-4233-992B-2D26DEA7756B}" dt="2023-11-22T14:25:38.814" v="26632"/>
          <ac:grpSpMkLst>
            <pc:docMk/>
            <pc:sldMk cId="1431617520" sldId="332"/>
            <ac:grpSpMk id="7" creationId="{DB500ECF-0F4F-26EB-8DE3-06F3325FEA77}"/>
          </ac:grpSpMkLst>
        </pc:grpChg>
        <pc:picChg chg="add del mod">
          <ac:chgData name="Tobias Brammer" userId="80a1e1bd-3b82-47a5-b259-da62a397db92" providerId="ADAL" clId="{008C3F84-4C29-4233-992B-2D26DEA7756B}" dt="2023-11-21T08:56:53.117" v="16666" actId="478"/>
          <ac:picMkLst>
            <pc:docMk/>
            <pc:sldMk cId="1431617520" sldId="332"/>
            <ac:picMk id="3" creationId="{952D6193-CFE2-C71A-AC5A-95A9C4323331}"/>
          </ac:picMkLst>
        </pc:picChg>
        <pc:picChg chg="add del mod">
          <ac:chgData name="Tobias Brammer" userId="80a1e1bd-3b82-47a5-b259-da62a397db92" providerId="ADAL" clId="{008C3F84-4C29-4233-992B-2D26DEA7756B}" dt="2023-11-22T14:25:37.965" v="26631" actId="478"/>
          <ac:picMkLst>
            <pc:docMk/>
            <pc:sldMk cId="1431617520" sldId="332"/>
            <ac:picMk id="5" creationId="{27EB888D-A4A9-CE63-8130-10ED9858A640}"/>
          </ac:picMkLst>
        </pc:picChg>
        <pc:picChg chg="mod">
          <ac:chgData name="Tobias Brammer" userId="80a1e1bd-3b82-47a5-b259-da62a397db92" providerId="ADAL" clId="{008C3F84-4C29-4233-992B-2D26DEA7756B}" dt="2023-11-22T14:25:38.814" v="26632"/>
          <ac:picMkLst>
            <pc:docMk/>
            <pc:sldMk cId="1431617520" sldId="332"/>
            <ac:picMk id="9" creationId="{7478CB5A-7A49-CC2D-94EF-3F276E332153}"/>
          </ac:picMkLst>
        </pc:picChg>
        <pc:picChg chg="mod">
          <ac:chgData name="Tobias Brammer" userId="80a1e1bd-3b82-47a5-b259-da62a397db92" providerId="ADAL" clId="{008C3F84-4C29-4233-992B-2D26DEA7756B}" dt="2023-11-22T14:25:38.814" v="26632"/>
          <ac:picMkLst>
            <pc:docMk/>
            <pc:sldMk cId="1431617520" sldId="332"/>
            <ac:picMk id="10" creationId="{F16BA97C-810C-0F0F-B534-CB0AB5103B76}"/>
          </ac:picMkLst>
        </pc:picChg>
        <pc:picChg chg="mod">
          <ac:chgData name="Tobias Brammer" userId="80a1e1bd-3b82-47a5-b259-da62a397db92" providerId="ADAL" clId="{008C3F84-4C29-4233-992B-2D26DEA7756B}" dt="2023-11-22T14:25:38.814" v="26632"/>
          <ac:picMkLst>
            <pc:docMk/>
            <pc:sldMk cId="1431617520" sldId="332"/>
            <ac:picMk id="11" creationId="{FC7FD43E-4B28-F405-3C6F-2288BD8F6F8E}"/>
          </ac:picMkLst>
        </pc:picChg>
        <pc:picChg chg="mod">
          <ac:chgData name="Tobias Brammer" userId="80a1e1bd-3b82-47a5-b259-da62a397db92" providerId="ADAL" clId="{008C3F84-4C29-4233-992B-2D26DEA7756B}" dt="2023-11-21T06:51:25.484" v="22" actId="14826"/>
          <ac:picMkLst>
            <pc:docMk/>
            <pc:sldMk cId="1431617520" sldId="332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38.814" v="26632"/>
          <ac:picMkLst>
            <pc:docMk/>
            <pc:sldMk cId="1431617520" sldId="332"/>
            <ac:picMk id="13" creationId="{51CEEF0C-B0D0-3F6E-841E-E58A2E20A291}"/>
          </ac:picMkLst>
        </pc:picChg>
      </pc:sldChg>
      <pc:sldChg chg="addSp delSp modSp mod ord">
        <pc:chgData name="Tobias Brammer" userId="80a1e1bd-3b82-47a5-b259-da62a397db92" providerId="ADAL" clId="{008C3F84-4C29-4233-992B-2D26DEA7756B}" dt="2023-12-08T10:26:46.979" v="27642"/>
        <pc:sldMkLst>
          <pc:docMk/>
          <pc:sldMk cId="160220345" sldId="333"/>
        </pc:sldMkLst>
        <pc:spChg chg="add mod">
          <ac:chgData name="Tobias Brammer" userId="80a1e1bd-3b82-47a5-b259-da62a397db92" providerId="ADAL" clId="{008C3F84-4C29-4233-992B-2D26DEA7756B}" dt="2023-12-08T10:26:46.979" v="27642"/>
          <ac:spMkLst>
            <pc:docMk/>
            <pc:sldMk cId="160220345" sldId="333"/>
            <ac:spMk id="3" creationId="{779573C2-CF22-5FF9-84BE-192203A32E07}"/>
          </ac:spMkLst>
        </pc:spChg>
        <pc:spChg chg="mod">
          <ac:chgData name="Tobias Brammer" userId="80a1e1bd-3b82-47a5-b259-da62a397db92" providerId="ADAL" clId="{008C3F84-4C29-4233-992B-2D26DEA7756B}" dt="2023-11-22T14:27:58.987" v="26661" actId="113"/>
          <ac:spMkLst>
            <pc:docMk/>
            <pc:sldMk cId="160220345" sldId="333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56.524" v="26641"/>
          <ac:grpSpMkLst>
            <pc:docMk/>
            <pc:sldMk cId="160220345" sldId="333"/>
            <ac:grpSpMk id="5" creationId="{46C1B039-4CA6-6980-9F03-94EE77FAE3B9}"/>
          </ac:grpSpMkLst>
        </pc:grpChg>
        <pc:grpChg chg="mod">
          <ac:chgData name="Tobias Brammer" userId="80a1e1bd-3b82-47a5-b259-da62a397db92" providerId="ADAL" clId="{008C3F84-4C29-4233-992B-2D26DEA7756B}" dt="2023-11-22T14:25:56.524" v="26641"/>
          <ac:grpSpMkLst>
            <pc:docMk/>
            <pc:sldMk cId="160220345" sldId="333"/>
            <ac:grpSpMk id="6" creationId="{63A642F6-E885-4041-0740-3AFC57A6FB7A}"/>
          </ac:grpSpMkLst>
        </pc:grpChg>
        <pc:grpChg chg="mod">
          <ac:chgData name="Tobias Brammer" userId="80a1e1bd-3b82-47a5-b259-da62a397db92" providerId="ADAL" clId="{008C3F84-4C29-4233-992B-2D26DEA7756B}" dt="2023-11-22T14:25:56.524" v="26641"/>
          <ac:grpSpMkLst>
            <pc:docMk/>
            <pc:sldMk cId="160220345" sldId="333"/>
            <ac:grpSpMk id="7" creationId="{1C359508-BD54-7FE9-E225-31A269EA9F82}"/>
          </ac:grpSpMkLst>
        </pc:grpChg>
        <pc:picChg chg="add del mod">
          <ac:chgData name="Tobias Brammer" userId="80a1e1bd-3b82-47a5-b259-da62a397db92" providerId="ADAL" clId="{008C3F84-4C29-4233-992B-2D26DEA7756B}" dt="2023-11-22T14:25:55.346" v="26640" actId="478"/>
          <ac:picMkLst>
            <pc:docMk/>
            <pc:sldMk cId="160220345" sldId="333"/>
            <ac:picMk id="3" creationId="{91BCBFCE-5E88-D83C-416C-A9F475A4B176}"/>
          </ac:picMkLst>
        </pc:picChg>
        <pc:picChg chg="mod">
          <ac:chgData name="Tobias Brammer" userId="80a1e1bd-3b82-47a5-b259-da62a397db92" providerId="ADAL" clId="{008C3F84-4C29-4233-992B-2D26DEA7756B}" dt="2023-11-22T14:25:56.524" v="26641"/>
          <ac:picMkLst>
            <pc:docMk/>
            <pc:sldMk cId="160220345" sldId="333"/>
            <ac:picMk id="9" creationId="{5BAD5090-1332-829A-00E2-9ED801B8E055}"/>
          </ac:picMkLst>
        </pc:picChg>
        <pc:picChg chg="mod">
          <ac:chgData name="Tobias Brammer" userId="80a1e1bd-3b82-47a5-b259-da62a397db92" providerId="ADAL" clId="{008C3F84-4C29-4233-992B-2D26DEA7756B}" dt="2023-11-22T14:25:56.524" v="26641"/>
          <ac:picMkLst>
            <pc:docMk/>
            <pc:sldMk cId="160220345" sldId="333"/>
            <ac:picMk id="10" creationId="{8E457B7D-19B6-5A56-0CCC-64ED8F1FB302}"/>
          </ac:picMkLst>
        </pc:picChg>
        <pc:picChg chg="mod">
          <ac:chgData name="Tobias Brammer" userId="80a1e1bd-3b82-47a5-b259-da62a397db92" providerId="ADAL" clId="{008C3F84-4C29-4233-992B-2D26DEA7756B}" dt="2023-11-22T14:25:56.524" v="26641"/>
          <ac:picMkLst>
            <pc:docMk/>
            <pc:sldMk cId="160220345" sldId="333"/>
            <ac:picMk id="11" creationId="{B185DACA-8764-8711-C0DD-981820162519}"/>
          </ac:picMkLst>
        </pc:picChg>
        <pc:picChg chg="mod">
          <ac:chgData name="Tobias Brammer" userId="80a1e1bd-3b82-47a5-b259-da62a397db92" providerId="ADAL" clId="{008C3F84-4C29-4233-992B-2D26DEA7756B}" dt="2023-11-21T06:52:18.308" v="25" actId="14826"/>
          <ac:picMkLst>
            <pc:docMk/>
            <pc:sldMk cId="160220345" sldId="333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56.524" v="26641"/>
          <ac:picMkLst>
            <pc:docMk/>
            <pc:sldMk cId="160220345" sldId="333"/>
            <ac:picMk id="13" creationId="{9FD10A9A-0651-3840-73F2-D4BFBD24C13A}"/>
          </ac:picMkLst>
        </pc:picChg>
      </pc:sldChg>
      <pc:sldChg chg="addSp delSp modSp mod">
        <pc:chgData name="Tobias Brammer" userId="80a1e1bd-3b82-47a5-b259-da62a397db92" providerId="ADAL" clId="{008C3F84-4C29-4233-992B-2D26DEA7756B}" dt="2023-12-08T08:50:02.959" v="27554" actId="20577"/>
        <pc:sldMkLst>
          <pc:docMk/>
          <pc:sldMk cId="2191927288" sldId="335"/>
        </pc:sldMkLst>
        <pc:spChg chg="mod">
          <ac:chgData name="Tobias Brammer" userId="80a1e1bd-3b82-47a5-b259-da62a397db92" providerId="ADAL" clId="{008C3F84-4C29-4233-992B-2D26DEA7756B}" dt="2023-12-08T08:50:02.959" v="27554" actId="20577"/>
          <ac:spMkLst>
            <pc:docMk/>
            <pc:sldMk cId="2191927288" sldId="335"/>
            <ac:spMk id="8" creationId="{9974A259-DC86-27AE-073B-E1B517848965}"/>
          </ac:spMkLst>
        </pc:spChg>
        <pc:picChg chg="add mod">
          <ac:chgData name="Tobias Brammer" userId="80a1e1bd-3b82-47a5-b259-da62a397db92" providerId="ADAL" clId="{008C3F84-4C29-4233-992B-2D26DEA7756B}" dt="2023-11-21T06:49:25.983" v="17" actId="14826"/>
          <ac:picMkLst>
            <pc:docMk/>
            <pc:sldMk cId="2191927288" sldId="335"/>
            <ac:picMk id="5" creationId="{61AC1B65-A75D-8FEA-A4C1-B1F7480F9899}"/>
          </ac:picMkLst>
        </pc:picChg>
        <pc:picChg chg="del">
          <ac:chgData name="Tobias Brammer" userId="80a1e1bd-3b82-47a5-b259-da62a397db92" providerId="ADAL" clId="{008C3F84-4C29-4233-992B-2D26DEA7756B}" dt="2023-11-20T13:52:29.754" v="0" actId="478"/>
          <ac:picMkLst>
            <pc:docMk/>
            <pc:sldMk cId="2191927288" sldId="335"/>
            <ac:picMk id="12" creationId="{BC45735F-E063-4678-D02A-CBB56F461006}"/>
          </ac:picMkLst>
        </pc:picChg>
      </pc:sldChg>
      <pc:sldChg chg="addSp delSp modSp add del mod ord">
        <pc:chgData name="Tobias Brammer" userId="80a1e1bd-3b82-47a5-b259-da62a397db92" providerId="ADAL" clId="{008C3F84-4C29-4233-992B-2D26DEA7756B}" dt="2023-12-08T10:26:49.673" v="27645"/>
        <pc:sldMkLst>
          <pc:docMk/>
          <pc:sldMk cId="755572344" sldId="336"/>
        </pc:sldMkLst>
        <pc:spChg chg="add mod">
          <ac:chgData name="Tobias Brammer" userId="80a1e1bd-3b82-47a5-b259-da62a397db92" providerId="ADAL" clId="{008C3F84-4C29-4233-992B-2D26DEA7756B}" dt="2023-12-08T10:26:49.673" v="27645"/>
          <ac:spMkLst>
            <pc:docMk/>
            <pc:sldMk cId="755572344" sldId="336"/>
            <ac:spMk id="5" creationId="{DCEF2F3E-FE11-A617-5795-F2D73ABE5D0E}"/>
          </ac:spMkLst>
        </pc:spChg>
        <pc:spChg chg="mod">
          <ac:chgData name="Tobias Brammer" userId="80a1e1bd-3b82-47a5-b259-da62a397db92" providerId="ADAL" clId="{008C3F84-4C29-4233-992B-2D26DEA7756B}" dt="2023-11-22T14:27:48.201" v="26658" actId="113"/>
          <ac:spMkLst>
            <pc:docMk/>
            <pc:sldMk cId="755572344" sldId="336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43.631" v="26634"/>
          <ac:grpSpMkLst>
            <pc:docMk/>
            <pc:sldMk cId="755572344" sldId="336"/>
            <ac:grpSpMk id="3" creationId="{A69F1193-DE50-04B6-46E4-8B57EB2EE034}"/>
          </ac:grpSpMkLst>
        </pc:grpChg>
        <pc:grpChg chg="mod">
          <ac:chgData name="Tobias Brammer" userId="80a1e1bd-3b82-47a5-b259-da62a397db92" providerId="ADAL" clId="{008C3F84-4C29-4233-992B-2D26DEA7756B}" dt="2023-11-22T14:25:43.631" v="26634"/>
          <ac:grpSpMkLst>
            <pc:docMk/>
            <pc:sldMk cId="755572344" sldId="336"/>
            <ac:grpSpMk id="6" creationId="{D0240BF0-A336-7DEA-3816-DA8DDBEAA817}"/>
          </ac:grpSpMkLst>
        </pc:grpChg>
        <pc:grpChg chg="mod">
          <ac:chgData name="Tobias Brammer" userId="80a1e1bd-3b82-47a5-b259-da62a397db92" providerId="ADAL" clId="{008C3F84-4C29-4233-992B-2D26DEA7756B}" dt="2023-11-22T14:25:43.631" v="26634"/>
          <ac:grpSpMkLst>
            <pc:docMk/>
            <pc:sldMk cId="755572344" sldId="336"/>
            <ac:grpSpMk id="7" creationId="{EDE112FF-96BC-429C-676A-1066C874C069}"/>
          </ac:grpSpMkLst>
        </pc:grpChg>
        <pc:graphicFrameChg chg="mod">
          <ac:chgData name="Tobias Brammer" userId="80a1e1bd-3b82-47a5-b259-da62a397db92" providerId="ADAL" clId="{008C3F84-4C29-4233-992B-2D26DEA7756B}" dt="2023-11-21T06:53:36.669" v="152"/>
          <ac:graphicFrameMkLst>
            <pc:docMk/>
            <pc:sldMk cId="755572344" sldId="336"/>
            <ac:graphicFrameMk id="4" creationId="{79C05AFC-9555-D40C-AD9D-3E13BD0A4FC2}"/>
          </ac:graphicFrameMkLst>
        </pc:graphicFrameChg>
        <pc:picChg chg="add del mod">
          <ac:chgData name="Tobias Brammer" userId="80a1e1bd-3b82-47a5-b259-da62a397db92" providerId="ADAL" clId="{008C3F84-4C29-4233-992B-2D26DEA7756B}" dt="2023-11-21T08:56:49.790" v="16664" actId="478"/>
          <ac:picMkLst>
            <pc:docMk/>
            <pc:sldMk cId="755572344" sldId="336"/>
            <ac:picMk id="3" creationId="{98EA1974-1BFB-6AAC-A735-9AAE790012FF}"/>
          </ac:picMkLst>
        </pc:picChg>
        <pc:picChg chg="add del mod">
          <ac:chgData name="Tobias Brammer" userId="80a1e1bd-3b82-47a5-b259-da62a397db92" providerId="ADAL" clId="{008C3F84-4C29-4233-992B-2D26DEA7756B}" dt="2023-11-22T14:25:42.737" v="26633" actId="478"/>
          <ac:picMkLst>
            <pc:docMk/>
            <pc:sldMk cId="755572344" sldId="336"/>
            <ac:picMk id="5" creationId="{38C593B5-A0A3-4D89-061C-44A774E26E4F}"/>
          </ac:picMkLst>
        </pc:picChg>
        <pc:picChg chg="mod">
          <ac:chgData name="Tobias Brammer" userId="80a1e1bd-3b82-47a5-b259-da62a397db92" providerId="ADAL" clId="{008C3F84-4C29-4233-992B-2D26DEA7756B}" dt="2023-11-22T14:25:43.631" v="26634"/>
          <ac:picMkLst>
            <pc:docMk/>
            <pc:sldMk cId="755572344" sldId="336"/>
            <ac:picMk id="9" creationId="{EBCB86EC-6FBB-E261-DF7C-413077F24866}"/>
          </ac:picMkLst>
        </pc:picChg>
        <pc:picChg chg="mod">
          <ac:chgData name="Tobias Brammer" userId="80a1e1bd-3b82-47a5-b259-da62a397db92" providerId="ADAL" clId="{008C3F84-4C29-4233-992B-2D26DEA7756B}" dt="2023-11-22T14:25:43.631" v="26634"/>
          <ac:picMkLst>
            <pc:docMk/>
            <pc:sldMk cId="755572344" sldId="336"/>
            <ac:picMk id="10" creationId="{950442F0-D0AC-A284-0330-80D4E571939D}"/>
          </ac:picMkLst>
        </pc:picChg>
        <pc:picChg chg="mod">
          <ac:chgData name="Tobias Brammer" userId="80a1e1bd-3b82-47a5-b259-da62a397db92" providerId="ADAL" clId="{008C3F84-4C29-4233-992B-2D26DEA7756B}" dt="2023-11-22T14:25:43.631" v="26634"/>
          <ac:picMkLst>
            <pc:docMk/>
            <pc:sldMk cId="755572344" sldId="336"/>
            <ac:picMk id="11" creationId="{25C15B22-54B8-6AF9-D69C-7FE3CB7E107F}"/>
          </ac:picMkLst>
        </pc:picChg>
        <pc:picChg chg="mod">
          <ac:chgData name="Tobias Brammer" userId="80a1e1bd-3b82-47a5-b259-da62a397db92" providerId="ADAL" clId="{008C3F84-4C29-4233-992B-2D26DEA7756B}" dt="2023-12-07T13:56:58.415" v="26677" actId="1036"/>
          <ac:picMkLst>
            <pc:docMk/>
            <pc:sldMk cId="755572344" sldId="336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43.631" v="26634"/>
          <ac:picMkLst>
            <pc:docMk/>
            <pc:sldMk cId="755572344" sldId="336"/>
            <ac:picMk id="13" creationId="{C4947D54-25DB-F01F-CBCE-84C5003CC774}"/>
          </ac:picMkLst>
        </pc:picChg>
      </pc:sldChg>
      <pc:sldChg chg="new add del">
        <pc:chgData name="Tobias Brammer" userId="80a1e1bd-3b82-47a5-b259-da62a397db92" providerId="ADAL" clId="{008C3F84-4C29-4233-992B-2D26DEA7756B}" dt="2023-11-21T06:52:45.665" v="30" actId="47"/>
        <pc:sldMkLst>
          <pc:docMk/>
          <pc:sldMk cId="2199616065" sldId="337"/>
        </pc:sldMkLst>
      </pc:sldChg>
      <pc:sldChg chg="addSp delSp modSp new add mod">
        <pc:chgData name="Tobias Brammer" userId="80a1e1bd-3b82-47a5-b259-da62a397db92" providerId="ADAL" clId="{008C3F84-4C29-4233-992B-2D26DEA7756B}" dt="2023-11-21T06:53:08.233" v="94"/>
        <pc:sldMkLst>
          <pc:docMk/>
          <pc:sldMk cId="2690539145" sldId="337"/>
        </pc:sldMkLst>
        <pc:spChg chg="mod">
          <ac:chgData name="Tobias Brammer" userId="80a1e1bd-3b82-47a5-b259-da62a397db92" providerId="ADAL" clId="{008C3F84-4C29-4233-992B-2D26DEA7756B}" dt="2023-11-21T06:53:08.196" v="67" actId="948"/>
          <ac:spMkLst>
            <pc:docMk/>
            <pc:sldMk cId="2690539145" sldId="337"/>
            <ac:spMk id="2" creationId="{3211FE1D-FF86-0AFA-5921-A013D2808BA6}"/>
          </ac:spMkLst>
        </pc:spChg>
        <pc:spChg chg="add del mod modVis">
          <ac:chgData name="Tobias Brammer" userId="80a1e1bd-3b82-47a5-b259-da62a397db92" providerId="ADAL" clId="{008C3F84-4C29-4233-992B-2D26DEA7756B}" dt="2023-11-21T06:53:08.231" v="92"/>
          <ac:spMkLst>
            <pc:docMk/>
            <pc:sldMk cId="2690539145" sldId="337"/>
            <ac:spMk id="5" creationId="{F0E63059-031C-ACC9-52A6-5F5A2EEBFBA0}"/>
          </ac:spMkLst>
        </pc:spChg>
        <pc:graphicFrameChg chg="add mod ord modVis replST">
          <ac:chgData name="Tobias Brammer" userId="80a1e1bd-3b82-47a5-b259-da62a397db92" providerId="ADAL" clId="{008C3F84-4C29-4233-992B-2D26DEA7756B}" dt="2023-11-21T06:53:08.233" v="94"/>
          <ac:graphicFrameMkLst>
            <pc:docMk/>
            <pc:sldMk cId="2690539145" sldId="337"/>
            <ac:graphicFrameMk id="4" creationId="{CFBFA525-500E-18C1-4247-C00AF685E7F5}"/>
          </ac:graphicFrameMkLst>
        </pc:graphicFrameChg>
      </pc:sldChg>
      <pc:sldChg chg="modSp add mod">
        <pc:chgData name="Tobias Brammer" userId="80a1e1bd-3b82-47a5-b259-da62a397db92" providerId="ADAL" clId="{008C3F84-4C29-4233-992B-2D26DEA7756B}" dt="2023-11-21T06:53:27.552" v="147"/>
        <pc:sldMkLst>
          <pc:docMk/>
          <pc:sldMk cId="3252766712" sldId="338"/>
        </pc:sldMkLst>
        <pc:spChg chg="mod">
          <ac:chgData name="Tobias Brammer" userId="80a1e1bd-3b82-47a5-b259-da62a397db92" providerId="ADAL" clId="{008C3F84-4C29-4233-992B-2D26DEA7756B}" dt="2023-11-21T06:53:27.552" v="143" actId="948"/>
          <ac:spMkLst>
            <pc:docMk/>
            <pc:sldMk cId="3252766712" sldId="338"/>
            <ac:spMk id="2" creationId="{3211FE1D-FF86-0AFA-5921-A013D2808BA6}"/>
          </ac:spMkLst>
        </pc:spChg>
        <pc:graphicFrameChg chg="mod">
          <ac:chgData name="Tobias Brammer" userId="80a1e1bd-3b82-47a5-b259-da62a397db92" providerId="ADAL" clId="{008C3F84-4C29-4233-992B-2D26DEA7756B}" dt="2023-11-21T06:53:27.552" v="147"/>
          <ac:graphicFrameMkLst>
            <pc:docMk/>
            <pc:sldMk cId="3252766712" sldId="338"/>
            <ac:graphicFrameMk id="4" creationId="{CFBFA525-500E-18C1-4247-C00AF685E7F5}"/>
          </ac:graphicFrameMkLst>
        </pc:graphicFrameChg>
      </pc:sldChg>
      <pc:sldChg chg="addSp delSp modSp add mod">
        <pc:chgData name="Tobias Brammer" userId="80a1e1bd-3b82-47a5-b259-da62a397db92" providerId="ADAL" clId="{008C3F84-4C29-4233-992B-2D26DEA7756B}" dt="2023-12-08T10:26:55.387" v="27650"/>
        <pc:sldMkLst>
          <pc:docMk/>
          <pc:sldMk cId="3932918211" sldId="339"/>
        </pc:sldMkLst>
        <pc:spChg chg="add mod">
          <ac:chgData name="Tobias Brammer" userId="80a1e1bd-3b82-47a5-b259-da62a397db92" providerId="ADAL" clId="{008C3F84-4C29-4233-992B-2D26DEA7756B}" dt="2023-12-08T10:26:55.387" v="27650"/>
          <ac:spMkLst>
            <pc:docMk/>
            <pc:sldMk cId="3932918211" sldId="339"/>
            <ac:spMk id="5" creationId="{3FD8AF25-7121-C916-32E7-0A0A15DDE18A}"/>
          </ac:spMkLst>
        </pc:spChg>
        <pc:spChg chg="mod">
          <ac:chgData name="Tobias Brammer" userId="80a1e1bd-3b82-47a5-b259-da62a397db92" providerId="ADAL" clId="{008C3F84-4C29-4233-992B-2D26DEA7756B}" dt="2023-11-22T14:27:16.465" v="26654" actId="113"/>
          <ac:spMkLst>
            <pc:docMk/>
            <pc:sldMk cId="3932918211" sldId="339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24.554" v="26623"/>
          <ac:grpSpMkLst>
            <pc:docMk/>
            <pc:sldMk cId="3932918211" sldId="339"/>
            <ac:grpSpMk id="3" creationId="{5EE4A894-F3E2-7E46-25D5-19BA815AE348}"/>
          </ac:grpSpMkLst>
        </pc:grpChg>
        <pc:grpChg chg="mod">
          <ac:chgData name="Tobias Brammer" userId="80a1e1bd-3b82-47a5-b259-da62a397db92" providerId="ADAL" clId="{008C3F84-4C29-4233-992B-2D26DEA7756B}" dt="2023-11-22T14:25:24.554" v="26623"/>
          <ac:grpSpMkLst>
            <pc:docMk/>
            <pc:sldMk cId="3932918211" sldId="339"/>
            <ac:grpSpMk id="6" creationId="{C932BB51-4EC3-E0DD-E40F-5CFB80C10001}"/>
          </ac:grpSpMkLst>
        </pc:grpChg>
        <pc:grpChg chg="mod">
          <ac:chgData name="Tobias Brammer" userId="80a1e1bd-3b82-47a5-b259-da62a397db92" providerId="ADAL" clId="{008C3F84-4C29-4233-992B-2D26DEA7756B}" dt="2023-11-22T14:25:24.554" v="26623"/>
          <ac:grpSpMkLst>
            <pc:docMk/>
            <pc:sldMk cId="3932918211" sldId="339"/>
            <ac:grpSpMk id="7" creationId="{B04536E9-B2F0-618D-1635-5D80AAD1D14D}"/>
          </ac:grpSpMkLst>
        </pc:grpChg>
        <pc:picChg chg="add del mod">
          <ac:chgData name="Tobias Brammer" userId="80a1e1bd-3b82-47a5-b259-da62a397db92" providerId="ADAL" clId="{008C3F84-4C29-4233-992B-2D26DEA7756B}" dt="2023-11-21T08:57:02.752" v="16674" actId="478"/>
          <ac:picMkLst>
            <pc:docMk/>
            <pc:sldMk cId="3932918211" sldId="339"/>
            <ac:picMk id="3" creationId="{18F35A57-980C-5D75-6FFF-13796202A7FC}"/>
          </ac:picMkLst>
        </pc:picChg>
        <pc:picChg chg="add del mod">
          <ac:chgData name="Tobias Brammer" userId="80a1e1bd-3b82-47a5-b259-da62a397db92" providerId="ADAL" clId="{008C3F84-4C29-4233-992B-2D26DEA7756B}" dt="2023-11-22T14:25:25.845" v="26624" actId="478"/>
          <ac:picMkLst>
            <pc:docMk/>
            <pc:sldMk cId="3932918211" sldId="339"/>
            <ac:picMk id="5" creationId="{85F10660-C458-6202-9293-4BA27BE5094D}"/>
          </ac:picMkLst>
        </pc:picChg>
        <pc:picChg chg="mod">
          <ac:chgData name="Tobias Brammer" userId="80a1e1bd-3b82-47a5-b259-da62a397db92" providerId="ADAL" clId="{008C3F84-4C29-4233-992B-2D26DEA7756B}" dt="2023-11-22T14:25:24.554" v="26623"/>
          <ac:picMkLst>
            <pc:docMk/>
            <pc:sldMk cId="3932918211" sldId="339"/>
            <ac:picMk id="9" creationId="{D8AD2B14-9CAE-824A-3A59-0FD9B3C707B4}"/>
          </ac:picMkLst>
        </pc:picChg>
        <pc:picChg chg="mod">
          <ac:chgData name="Tobias Brammer" userId="80a1e1bd-3b82-47a5-b259-da62a397db92" providerId="ADAL" clId="{008C3F84-4C29-4233-992B-2D26DEA7756B}" dt="2023-11-22T14:25:24.554" v="26623"/>
          <ac:picMkLst>
            <pc:docMk/>
            <pc:sldMk cId="3932918211" sldId="339"/>
            <ac:picMk id="10" creationId="{F688A2E3-259E-FCA4-6554-31909AB50B18}"/>
          </ac:picMkLst>
        </pc:picChg>
        <pc:picChg chg="mod">
          <ac:chgData name="Tobias Brammer" userId="80a1e1bd-3b82-47a5-b259-da62a397db92" providerId="ADAL" clId="{008C3F84-4C29-4233-992B-2D26DEA7756B}" dt="2023-11-22T14:25:24.554" v="26623"/>
          <ac:picMkLst>
            <pc:docMk/>
            <pc:sldMk cId="3932918211" sldId="339"/>
            <ac:picMk id="11" creationId="{A08FAB19-E979-DC7C-C8AC-E9917428B9CF}"/>
          </ac:picMkLst>
        </pc:picChg>
        <pc:picChg chg="mod">
          <ac:chgData name="Tobias Brammer" userId="80a1e1bd-3b82-47a5-b259-da62a397db92" providerId="ADAL" clId="{008C3F84-4C29-4233-992B-2D26DEA7756B}" dt="2023-11-22T14:25:24.554" v="26623"/>
          <ac:picMkLst>
            <pc:docMk/>
            <pc:sldMk cId="3932918211" sldId="339"/>
            <ac:picMk id="13" creationId="{DC14C248-BE2F-C3AB-C9BB-3C8E1EC1E3A5}"/>
          </ac:picMkLst>
        </pc:picChg>
      </pc:sldChg>
      <pc:sldChg chg="addSp delSp modSp add mod ord">
        <pc:chgData name="Tobias Brammer" userId="80a1e1bd-3b82-47a5-b259-da62a397db92" providerId="ADAL" clId="{008C3F84-4C29-4233-992B-2D26DEA7756B}" dt="2023-12-08T10:26:47.966" v="27643"/>
        <pc:sldMkLst>
          <pc:docMk/>
          <pc:sldMk cId="2084257171" sldId="340"/>
        </pc:sldMkLst>
        <pc:spChg chg="mod">
          <ac:chgData name="Tobias Brammer" userId="80a1e1bd-3b82-47a5-b259-da62a397db92" providerId="ADAL" clId="{008C3F84-4C29-4233-992B-2D26DEA7756B}" dt="2023-11-22T14:27:55.454" v="26660" actId="113"/>
          <ac:spMkLst>
            <pc:docMk/>
            <pc:sldMk cId="2084257171" sldId="340"/>
            <ac:spMk id="8" creationId="{9974A259-DC86-27AE-073B-E1B517848965}"/>
          </ac:spMkLst>
        </pc:spChg>
        <pc:spChg chg="add mod">
          <ac:chgData name="Tobias Brammer" userId="80a1e1bd-3b82-47a5-b259-da62a397db92" providerId="ADAL" clId="{008C3F84-4C29-4233-992B-2D26DEA7756B}" dt="2023-12-08T10:26:47.966" v="27643"/>
          <ac:spMkLst>
            <pc:docMk/>
            <pc:sldMk cId="2084257171" sldId="340"/>
            <ac:spMk id="13" creationId="{0FA0DF93-E955-43A8-6165-D4DF79517A84}"/>
          </ac:spMkLst>
        </pc:spChg>
        <pc:grpChg chg="add mod">
          <ac:chgData name="Tobias Brammer" userId="80a1e1bd-3b82-47a5-b259-da62a397db92" providerId="ADAL" clId="{008C3F84-4C29-4233-992B-2D26DEA7756B}" dt="2023-11-22T14:25:52.355" v="26639"/>
          <ac:grpSpMkLst>
            <pc:docMk/>
            <pc:sldMk cId="2084257171" sldId="340"/>
            <ac:grpSpMk id="3" creationId="{F3A0D7F7-4EE5-666B-A82A-0AC28ABC6528}"/>
          </ac:grpSpMkLst>
        </pc:grpChg>
        <pc:grpChg chg="mod">
          <ac:chgData name="Tobias Brammer" userId="80a1e1bd-3b82-47a5-b259-da62a397db92" providerId="ADAL" clId="{008C3F84-4C29-4233-992B-2D26DEA7756B}" dt="2023-11-22T14:25:52.355" v="26639"/>
          <ac:grpSpMkLst>
            <pc:docMk/>
            <pc:sldMk cId="2084257171" sldId="340"/>
            <ac:grpSpMk id="5" creationId="{D8DE3F24-256F-97C3-CB25-E74E30CEB55B}"/>
          </ac:grpSpMkLst>
        </pc:grpChg>
        <pc:grpChg chg="mod">
          <ac:chgData name="Tobias Brammer" userId="80a1e1bd-3b82-47a5-b259-da62a397db92" providerId="ADAL" clId="{008C3F84-4C29-4233-992B-2D26DEA7756B}" dt="2023-11-22T14:25:52.355" v="26639"/>
          <ac:grpSpMkLst>
            <pc:docMk/>
            <pc:sldMk cId="2084257171" sldId="340"/>
            <ac:grpSpMk id="6" creationId="{08BF64B4-696C-30B8-6D95-58F71DEA2A45}"/>
          </ac:grpSpMkLst>
        </pc:grpChg>
        <pc:picChg chg="add del mod">
          <ac:chgData name="Tobias Brammer" userId="80a1e1bd-3b82-47a5-b259-da62a397db92" providerId="ADAL" clId="{008C3F84-4C29-4233-992B-2D26DEA7756B}" dt="2023-11-21T08:56:46.098" v="16662" actId="478"/>
          <ac:picMkLst>
            <pc:docMk/>
            <pc:sldMk cId="2084257171" sldId="340"/>
            <ac:picMk id="3" creationId="{89B2339C-3171-6780-EA38-664AEB7D1C4C}"/>
          </ac:picMkLst>
        </pc:picChg>
        <pc:picChg chg="add del mod">
          <ac:chgData name="Tobias Brammer" userId="80a1e1bd-3b82-47a5-b259-da62a397db92" providerId="ADAL" clId="{008C3F84-4C29-4233-992B-2D26DEA7756B}" dt="2023-11-21T09:03:09.225" v="17264" actId="478"/>
          <ac:picMkLst>
            <pc:docMk/>
            <pc:sldMk cId="2084257171" sldId="340"/>
            <ac:picMk id="5" creationId="{CFB3962C-F4C4-2511-16B0-8E9661D3FAE8}"/>
          </ac:picMkLst>
        </pc:picChg>
        <pc:picChg chg="mod">
          <ac:chgData name="Tobias Brammer" userId="80a1e1bd-3b82-47a5-b259-da62a397db92" providerId="ADAL" clId="{008C3F84-4C29-4233-992B-2D26DEA7756B}" dt="2023-11-22T14:25:52.355" v="26639"/>
          <ac:picMkLst>
            <pc:docMk/>
            <pc:sldMk cId="2084257171" sldId="340"/>
            <ac:picMk id="7" creationId="{E2DC9D98-C0E8-6DB7-3E5F-5ABCD111E734}"/>
          </ac:picMkLst>
        </pc:picChg>
        <pc:picChg chg="mod">
          <ac:chgData name="Tobias Brammer" userId="80a1e1bd-3b82-47a5-b259-da62a397db92" providerId="ADAL" clId="{008C3F84-4C29-4233-992B-2D26DEA7756B}" dt="2023-11-22T14:25:52.355" v="26639"/>
          <ac:picMkLst>
            <pc:docMk/>
            <pc:sldMk cId="2084257171" sldId="340"/>
            <ac:picMk id="9" creationId="{7B477506-C07C-DCCC-A2C4-A5767DBE2C40}"/>
          </ac:picMkLst>
        </pc:picChg>
        <pc:picChg chg="mod">
          <ac:chgData name="Tobias Brammer" userId="80a1e1bd-3b82-47a5-b259-da62a397db92" providerId="ADAL" clId="{008C3F84-4C29-4233-992B-2D26DEA7756B}" dt="2023-11-22T14:25:52.355" v="26639"/>
          <ac:picMkLst>
            <pc:docMk/>
            <pc:sldMk cId="2084257171" sldId="340"/>
            <ac:picMk id="10" creationId="{BCE8601E-CD8D-53A2-2143-BD8CACFC3747}"/>
          </ac:picMkLst>
        </pc:picChg>
        <pc:picChg chg="mod">
          <ac:chgData name="Tobias Brammer" userId="80a1e1bd-3b82-47a5-b259-da62a397db92" providerId="ADAL" clId="{008C3F84-4C29-4233-992B-2D26DEA7756B}" dt="2023-11-22T14:25:52.355" v="26639"/>
          <ac:picMkLst>
            <pc:docMk/>
            <pc:sldMk cId="2084257171" sldId="340"/>
            <ac:picMk id="11" creationId="{353CE843-02B7-92EB-80E4-3B468F09ADFE}"/>
          </ac:picMkLst>
        </pc:picChg>
        <pc:picChg chg="mod">
          <ac:chgData name="Tobias Brammer" userId="80a1e1bd-3b82-47a5-b259-da62a397db92" providerId="ADAL" clId="{008C3F84-4C29-4233-992B-2D26DEA7756B}" dt="2023-12-07T13:56:40.028" v="26675" actId="14826"/>
          <ac:picMkLst>
            <pc:docMk/>
            <pc:sldMk cId="2084257171" sldId="340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2-08T10:26:52.698" v="27647"/>
        <pc:sldMkLst>
          <pc:docMk/>
          <pc:sldMk cId="1250151205" sldId="341"/>
        </pc:sldMkLst>
        <pc:spChg chg="add mod">
          <ac:chgData name="Tobias Brammer" userId="80a1e1bd-3b82-47a5-b259-da62a397db92" providerId="ADAL" clId="{008C3F84-4C29-4233-992B-2D26DEA7756B}" dt="2023-12-08T10:26:52.698" v="27647"/>
          <ac:spMkLst>
            <pc:docMk/>
            <pc:sldMk cId="1250151205" sldId="341"/>
            <ac:spMk id="5" creationId="{5ECFB385-68BB-9B4F-4FD8-213D7EF8915E}"/>
          </ac:spMkLst>
        </pc:spChg>
        <pc:spChg chg="mod">
          <ac:chgData name="Tobias Brammer" userId="80a1e1bd-3b82-47a5-b259-da62a397db92" providerId="ADAL" clId="{008C3F84-4C29-4233-992B-2D26DEA7756B}" dt="2023-11-22T14:27:08.628" v="26651" actId="113"/>
          <ac:spMkLst>
            <pc:docMk/>
            <pc:sldMk cId="1250151205" sldId="341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35.338" v="26630"/>
          <ac:grpSpMkLst>
            <pc:docMk/>
            <pc:sldMk cId="1250151205" sldId="341"/>
            <ac:grpSpMk id="3" creationId="{85030B75-E64D-538F-63A9-C0549A0A45F9}"/>
          </ac:grpSpMkLst>
        </pc:grpChg>
        <pc:grpChg chg="mod">
          <ac:chgData name="Tobias Brammer" userId="80a1e1bd-3b82-47a5-b259-da62a397db92" providerId="ADAL" clId="{008C3F84-4C29-4233-992B-2D26DEA7756B}" dt="2023-11-22T14:25:35.338" v="26630"/>
          <ac:grpSpMkLst>
            <pc:docMk/>
            <pc:sldMk cId="1250151205" sldId="341"/>
            <ac:grpSpMk id="6" creationId="{5DE13F17-AB3F-1855-75C3-320F71767443}"/>
          </ac:grpSpMkLst>
        </pc:grpChg>
        <pc:grpChg chg="mod">
          <ac:chgData name="Tobias Brammer" userId="80a1e1bd-3b82-47a5-b259-da62a397db92" providerId="ADAL" clId="{008C3F84-4C29-4233-992B-2D26DEA7756B}" dt="2023-11-22T14:25:35.338" v="26630"/>
          <ac:grpSpMkLst>
            <pc:docMk/>
            <pc:sldMk cId="1250151205" sldId="341"/>
            <ac:grpSpMk id="7" creationId="{65D0C2B8-675B-D8A6-4E50-95D7ED5A2069}"/>
          </ac:grpSpMkLst>
        </pc:grpChg>
        <pc:picChg chg="add del mod">
          <ac:chgData name="Tobias Brammer" userId="80a1e1bd-3b82-47a5-b259-da62a397db92" providerId="ADAL" clId="{008C3F84-4C29-4233-992B-2D26DEA7756B}" dt="2023-11-21T08:56:55.223" v="16668" actId="478"/>
          <ac:picMkLst>
            <pc:docMk/>
            <pc:sldMk cId="1250151205" sldId="341"/>
            <ac:picMk id="3" creationId="{27768FE8-4F19-7A21-DE87-103E89C834B7}"/>
          </ac:picMkLst>
        </pc:picChg>
        <pc:picChg chg="add del mod">
          <ac:chgData name="Tobias Brammer" userId="80a1e1bd-3b82-47a5-b259-da62a397db92" providerId="ADAL" clId="{008C3F84-4C29-4233-992B-2D26DEA7756B}" dt="2023-11-22T14:25:34.418" v="26629" actId="478"/>
          <ac:picMkLst>
            <pc:docMk/>
            <pc:sldMk cId="1250151205" sldId="341"/>
            <ac:picMk id="5" creationId="{FDBFD339-2B15-D5FB-012C-0FF1396B1DEA}"/>
          </ac:picMkLst>
        </pc:picChg>
        <pc:picChg chg="mod">
          <ac:chgData name="Tobias Brammer" userId="80a1e1bd-3b82-47a5-b259-da62a397db92" providerId="ADAL" clId="{008C3F84-4C29-4233-992B-2D26DEA7756B}" dt="2023-11-22T14:25:35.338" v="26630"/>
          <ac:picMkLst>
            <pc:docMk/>
            <pc:sldMk cId="1250151205" sldId="341"/>
            <ac:picMk id="9" creationId="{053D2FE3-FECF-1ED8-C806-BB139D9E79B3}"/>
          </ac:picMkLst>
        </pc:picChg>
        <pc:picChg chg="mod">
          <ac:chgData name="Tobias Brammer" userId="80a1e1bd-3b82-47a5-b259-da62a397db92" providerId="ADAL" clId="{008C3F84-4C29-4233-992B-2D26DEA7756B}" dt="2023-11-22T14:25:35.338" v="26630"/>
          <ac:picMkLst>
            <pc:docMk/>
            <pc:sldMk cId="1250151205" sldId="341"/>
            <ac:picMk id="10" creationId="{B275D337-6FA4-2093-5C24-B8E3768ED1D5}"/>
          </ac:picMkLst>
        </pc:picChg>
        <pc:picChg chg="mod">
          <ac:chgData name="Tobias Brammer" userId="80a1e1bd-3b82-47a5-b259-da62a397db92" providerId="ADAL" clId="{008C3F84-4C29-4233-992B-2D26DEA7756B}" dt="2023-11-22T14:25:35.338" v="26630"/>
          <ac:picMkLst>
            <pc:docMk/>
            <pc:sldMk cId="1250151205" sldId="341"/>
            <ac:picMk id="11" creationId="{A89B1958-57F0-313D-AA18-5D734E77E482}"/>
          </ac:picMkLst>
        </pc:picChg>
        <pc:picChg chg="mod">
          <ac:chgData name="Tobias Brammer" userId="80a1e1bd-3b82-47a5-b259-da62a397db92" providerId="ADAL" clId="{008C3F84-4C29-4233-992B-2D26DEA7756B}" dt="2023-11-21T06:54:58.849" v="162" actId="14826"/>
          <ac:picMkLst>
            <pc:docMk/>
            <pc:sldMk cId="1250151205" sldId="341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35.338" v="26630"/>
          <ac:picMkLst>
            <pc:docMk/>
            <pc:sldMk cId="1250151205" sldId="341"/>
            <ac:picMk id="13" creationId="{C31712A2-3778-E110-2188-B69891E1946F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2-08T10:26:53.628" v="27648"/>
        <pc:sldMkLst>
          <pc:docMk/>
          <pc:sldMk cId="2688903811" sldId="342"/>
        </pc:sldMkLst>
        <pc:spChg chg="add mod">
          <ac:chgData name="Tobias Brammer" userId="80a1e1bd-3b82-47a5-b259-da62a397db92" providerId="ADAL" clId="{008C3F84-4C29-4233-992B-2D26DEA7756B}" dt="2023-12-08T10:26:53.628" v="27648"/>
          <ac:spMkLst>
            <pc:docMk/>
            <pc:sldMk cId="2688903811" sldId="342"/>
            <ac:spMk id="5" creationId="{99FFA608-AAAE-727D-A36C-5589F13B847A}"/>
          </ac:spMkLst>
        </pc:spChg>
        <pc:spChg chg="mod">
          <ac:chgData name="Tobias Brammer" userId="80a1e1bd-3b82-47a5-b259-da62a397db92" providerId="ADAL" clId="{008C3F84-4C29-4233-992B-2D26DEA7756B}" dt="2023-11-22T14:27:11.134" v="26652" actId="113"/>
          <ac:spMkLst>
            <pc:docMk/>
            <pc:sldMk cId="2688903811" sldId="342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31.582" v="26628"/>
          <ac:grpSpMkLst>
            <pc:docMk/>
            <pc:sldMk cId="2688903811" sldId="342"/>
            <ac:grpSpMk id="3" creationId="{BD19C2F5-7908-6BF7-3428-843E93E0AE08}"/>
          </ac:grpSpMkLst>
        </pc:grpChg>
        <pc:grpChg chg="mod">
          <ac:chgData name="Tobias Brammer" userId="80a1e1bd-3b82-47a5-b259-da62a397db92" providerId="ADAL" clId="{008C3F84-4C29-4233-992B-2D26DEA7756B}" dt="2023-11-22T14:25:31.582" v="26628"/>
          <ac:grpSpMkLst>
            <pc:docMk/>
            <pc:sldMk cId="2688903811" sldId="342"/>
            <ac:grpSpMk id="6" creationId="{E0573A09-C631-775E-2CDF-191D541A0F8E}"/>
          </ac:grpSpMkLst>
        </pc:grpChg>
        <pc:grpChg chg="mod">
          <ac:chgData name="Tobias Brammer" userId="80a1e1bd-3b82-47a5-b259-da62a397db92" providerId="ADAL" clId="{008C3F84-4C29-4233-992B-2D26DEA7756B}" dt="2023-11-22T14:25:31.582" v="26628"/>
          <ac:grpSpMkLst>
            <pc:docMk/>
            <pc:sldMk cId="2688903811" sldId="342"/>
            <ac:grpSpMk id="7" creationId="{82388F5C-1FD1-652B-EA74-912997263664}"/>
          </ac:grpSpMkLst>
        </pc:grpChg>
        <pc:picChg chg="add del mod">
          <ac:chgData name="Tobias Brammer" userId="80a1e1bd-3b82-47a5-b259-da62a397db92" providerId="ADAL" clId="{008C3F84-4C29-4233-992B-2D26DEA7756B}" dt="2023-11-21T08:56:57.707" v="16670" actId="478"/>
          <ac:picMkLst>
            <pc:docMk/>
            <pc:sldMk cId="2688903811" sldId="342"/>
            <ac:picMk id="3" creationId="{234221FA-BFEB-E51C-5D09-74491650512F}"/>
          </ac:picMkLst>
        </pc:picChg>
        <pc:picChg chg="add del mod">
          <ac:chgData name="Tobias Brammer" userId="80a1e1bd-3b82-47a5-b259-da62a397db92" providerId="ADAL" clId="{008C3F84-4C29-4233-992B-2D26DEA7756B}" dt="2023-11-22T14:25:31.270" v="26627" actId="478"/>
          <ac:picMkLst>
            <pc:docMk/>
            <pc:sldMk cId="2688903811" sldId="342"/>
            <ac:picMk id="5" creationId="{8E018B45-055E-7917-194F-AC1F91BF3AE9}"/>
          </ac:picMkLst>
        </pc:picChg>
        <pc:picChg chg="mod">
          <ac:chgData name="Tobias Brammer" userId="80a1e1bd-3b82-47a5-b259-da62a397db92" providerId="ADAL" clId="{008C3F84-4C29-4233-992B-2D26DEA7756B}" dt="2023-11-22T14:25:31.582" v="26628"/>
          <ac:picMkLst>
            <pc:docMk/>
            <pc:sldMk cId="2688903811" sldId="342"/>
            <ac:picMk id="9" creationId="{4098F49C-3FEA-07D5-52D0-A88C179E53B9}"/>
          </ac:picMkLst>
        </pc:picChg>
        <pc:picChg chg="mod">
          <ac:chgData name="Tobias Brammer" userId="80a1e1bd-3b82-47a5-b259-da62a397db92" providerId="ADAL" clId="{008C3F84-4C29-4233-992B-2D26DEA7756B}" dt="2023-11-22T14:25:31.582" v="26628"/>
          <ac:picMkLst>
            <pc:docMk/>
            <pc:sldMk cId="2688903811" sldId="342"/>
            <ac:picMk id="10" creationId="{1A980926-3F82-C8EF-0C24-EFADE91352C0}"/>
          </ac:picMkLst>
        </pc:picChg>
        <pc:picChg chg="mod">
          <ac:chgData name="Tobias Brammer" userId="80a1e1bd-3b82-47a5-b259-da62a397db92" providerId="ADAL" clId="{008C3F84-4C29-4233-992B-2D26DEA7756B}" dt="2023-11-22T14:25:31.582" v="26628"/>
          <ac:picMkLst>
            <pc:docMk/>
            <pc:sldMk cId="2688903811" sldId="342"/>
            <ac:picMk id="11" creationId="{3204AFFF-B43E-937F-B412-ED17D48132C8}"/>
          </ac:picMkLst>
        </pc:picChg>
        <pc:picChg chg="mod">
          <ac:chgData name="Tobias Brammer" userId="80a1e1bd-3b82-47a5-b259-da62a397db92" providerId="ADAL" clId="{008C3F84-4C29-4233-992B-2D26DEA7756B}" dt="2023-11-21T06:55:15.809" v="164" actId="14826"/>
          <ac:picMkLst>
            <pc:docMk/>
            <pc:sldMk cId="2688903811" sldId="342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31.582" v="26628"/>
          <ac:picMkLst>
            <pc:docMk/>
            <pc:sldMk cId="2688903811" sldId="342"/>
            <ac:picMk id="13" creationId="{3DD8A121-2288-6DF1-4C11-62FBDB901A2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2-08T10:26:54.471" v="27649"/>
        <pc:sldMkLst>
          <pc:docMk/>
          <pc:sldMk cId="684303183" sldId="343"/>
        </pc:sldMkLst>
        <pc:spChg chg="add mod">
          <ac:chgData name="Tobias Brammer" userId="80a1e1bd-3b82-47a5-b259-da62a397db92" providerId="ADAL" clId="{008C3F84-4C29-4233-992B-2D26DEA7756B}" dt="2023-12-08T10:26:54.471" v="27649"/>
          <ac:spMkLst>
            <pc:docMk/>
            <pc:sldMk cId="684303183" sldId="343"/>
            <ac:spMk id="5" creationId="{F67E4057-FC2E-6FBD-435A-DB6A70B2A94D}"/>
          </ac:spMkLst>
        </pc:spChg>
        <pc:spChg chg="mod">
          <ac:chgData name="Tobias Brammer" userId="80a1e1bd-3b82-47a5-b259-da62a397db92" providerId="ADAL" clId="{008C3F84-4C29-4233-992B-2D26DEA7756B}" dt="2023-11-22T14:27:13.670" v="26653" actId="113"/>
          <ac:spMkLst>
            <pc:docMk/>
            <pc:sldMk cId="684303183" sldId="343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28.066" v="26625"/>
          <ac:grpSpMkLst>
            <pc:docMk/>
            <pc:sldMk cId="684303183" sldId="343"/>
            <ac:grpSpMk id="3" creationId="{9FCE6B10-6098-5AE3-DA8A-5C9992F1EBD5}"/>
          </ac:grpSpMkLst>
        </pc:grpChg>
        <pc:grpChg chg="mod">
          <ac:chgData name="Tobias Brammer" userId="80a1e1bd-3b82-47a5-b259-da62a397db92" providerId="ADAL" clId="{008C3F84-4C29-4233-992B-2D26DEA7756B}" dt="2023-11-22T14:25:28.066" v="26625"/>
          <ac:grpSpMkLst>
            <pc:docMk/>
            <pc:sldMk cId="684303183" sldId="343"/>
            <ac:grpSpMk id="6" creationId="{A78E324C-CFFC-212F-E30B-D82603E808C3}"/>
          </ac:grpSpMkLst>
        </pc:grpChg>
        <pc:grpChg chg="mod">
          <ac:chgData name="Tobias Brammer" userId="80a1e1bd-3b82-47a5-b259-da62a397db92" providerId="ADAL" clId="{008C3F84-4C29-4233-992B-2D26DEA7756B}" dt="2023-11-22T14:25:28.066" v="26625"/>
          <ac:grpSpMkLst>
            <pc:docMk/>
            <pc:sldMk cId="684303183" sldId="343"/>
            <ac:grpSpMk id="7" creationId="{F9AA191F-C810-EE53-1AD3-865311986379}"/>
          </ac:grpSpMkLst>
        </pc:grpChg>
        <pc:picChg chg="add del mod">
          <ac:chgData name="Tobias Brammer" userId="80a1e1bd-3b82-47a5-b259-da62a397db92" providerId="ADAL" clId="{008C3F84-4C29-4233-992B-2D26DEA7756B}" dt="2023-11-21T08:57:00.224" v="16672" actId="478"/>
          <ac:picMkLst>
            <pc:docMk/>
            <pc:sldMk cId="684303183" sldId="343"/>
            <ac:picMk id="3" creationId="{01F1AB17-707F-A819-DB7E-B059E81355DA}"/>
          </ac:picMkLst>
        </pc:picChg>
        <pc:picChg chg="add del mod">
          <ac:chgData name="Tobias Brammer" userId="80a1e1bd-3b82-47a5-b259-da62a397db92" providerId="ADAL" clId="{008C3F84-4C29-4233-992B-2D26DEA7756B}" dt="2023-11-22T14:25:29.132" v="26626" actId="478"/>
          <ac:picMkLst>
            <pc:docMk/>
            <pc:sldMk cId="684303183" sldId="343"/>
            <ac:picMk id="5" creationId="{A8939311-BFFD-B889-65D0-63A766808E7F}"/>
          </ac:picMkLst>
        </pc:picChg>
        <pc:picChg chg="mod">
          <ac:chgData name="Tobias Brammer" userId="80a1e1bd-3b82-47a5-b259-da62a397db92" providerId="ADAL" clId="{008C3F84-4C29-4233-992B-2D26DEA7756B}" dt="2023-11-22T14:25:28.066" v="26625"/>
          <ac:picMkLst>
            <pc:docMk/>
            <pc:sldMk cId="684303183" sldId="343"/>
            <ac:picMk id="9" creationId="{C160D740-FE81-150B-469D-C2F0D0D5285D}"/>
          </ac:picMkLst>
        </pc:picChg>
        <pc:picChg chg="mod">
          <ac:chgData name="Tobias Brammer" userId="80a1e1bd-3b82-47a5-b259-da62a397db92" providerId="ADAL" clId="{008C3F84-4C29-4233-992B-2D26DEA7756B}" dt="2023-11-22T14:25:28.066" v="26625"/>
          <ac:picMkLst>
            <pc:docMk/>
            <pc:sldMk cId="684303183" sldId="343"/>
            <ac:picMk id="10" creationId="{548E9B5D-CE5F-D187-3C9B-62298381CFD2}"/>
          </ac:picMkLst>
        </pc:picChg>
        <pc:picChg chg="mod">
          <ac:chgData name="Tobias Brammer" userId="80a1e1bd-3b82-47a5-b259-da62a397db92" providerId="ADAL" clId="{008C3F84-4C29-4233-992B-2D26DEA7756B}" dt="2023-11-22T14:25:28.066" v="26625"/>
          <ac:picMkLst>
            <pc:docMk/>
            <pc:sldMk cId="684303183" sldId="343"/>
            <ac:picMk id="11" creationId="{4FC07AF1-091A-B256-60DF-F35C42C799CD}"/>
          </ac:picMkLst>
        </pc:picChg>
        <pc:picChg chg="mod">
          <ac:chgData name="Tobias Brammer" userId="80a1e1bd-3b82-47a5-b259-da62a397db92" providerId="ADAL" clId="{008C3F84-4C29-4233-992B-2D26DEA7756B}" dt="2023-11-21T06:55:36.613" v="166" actId="14826"/>
          <ac:picMkLst>
            <pc:docMk/>
            <pc:sldMk cId="684303183" sldId="343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28.066" v="26625"/>
          <ac:picMkLst>
            <pc:docMk/>
            <pc:sldMk cId="684303183" sldId="343"/>
            <ac:picMk id="13" creationId="{8EFD2CED-7029-B19C-E04C-7048D86F4EEC}"/>
          </ac:picMkLst>
        </pc:picChg>
      </pc:sldChg>
      <pc:sldChg chg="add del">
        <pc:chgData name="Tobias Brammer" userId="80a1e1bd-3b82-47a5-b259-da62a397db92" providerId="ADAL" clId="{008C3F84-4C29-4233-992B-2D26DEA7756B}" dt="2023-11-21T06:55:41.627" v="168"/>
        <pc:sldMkLst>
          <pc:docMk/>
          <pc:sldMk cId="3307840895" sldId="344"/>
        </pc:sldMkLst>
      </pc:sldChg>
      <pc:sldChg chg="addSp delSp modSp add mod">
        <pc:chgData name="Tobias Brammer" userId="80a1e1bd-3b82-47a5-b259-da62a397db92" providerId="ADAL" clId="{008C3F84-4C29-4233-992B-2D26DEA7756B}" dt="2023-12-08T10:26:56.315" v="27651"/>
        <pc:sldMkLst>
          <pc:docMk/>
          <pc:sldMk cId="4030577437" sldId="344"/>
        </pc:sldMkLst>
        <pc:spChg chg="add mod">
          <ac:chgData name="Tobias Brammer" userId="80a1e1bd-3b82-47a5-b259-da62a397db92" providerId="ADAL" clId="{008C3F84-4C29-4233-992B-2D26DEA7756B}" dt="2023-12-08T10:26:56.315" v="27651"/>
          <ac:spMkLst>
            <pc:docMk/>
            <pc:sldMk cId="4030577437" sldId="344"/>
            <ac:spMk id="5" creationId="{230DE210-89D4-1412-323A-451A3F7B173D}"/>
          </ac:spMkLst>
        </pc:spChg>
        <pc:spChg chg="mod">
          <ac:chgData name="Tobias Brammer" userId="80a1e1bd-3b82-47a5-b259-da62a397db92" providerId="ADAL" clId="{008C3F84-4C29-4233-992B-2D26DEA7756B}" dt="2023-11-22T14:27:25.023" v="26655" actId="113"/>
          <ac:spMkLst>
            <pc:docMk/>
            <pc:sldMk cId="4030577437" sldId="344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21.364" v="26622" actId="1036"/>
          <ac:grpSpMkLst>
            <pc:docMk/>
            <pc:sldMk cId="4030577437" sldId="344"/>
            <ac:grpSpMk id="3" creationId="{31F2D251-2F21-8000-F664-E25911CC3DCD}"/>
          </ac:grpSpMkLst>
        </pc:grpChg>
        <pc:grpChg chg="mod">
          <ac:chgData name="Tobias Brammer" userId="80a1e1bd-3b82-47a5-b259-da62a397db92" providerId="ADAL" clId="{008C3F84-4C29-4233-992B-2D26DEA7756B}" dt="2023-11-22T14:25:19.111" v="26620"/>
          <ac:grpSpMkLst>
            <pc:docMk/>
            <pc:sldMk cId="4030577437" sldId="344"/>
            <ac:grpSpMk id="6" creationId="{EF6E6DEF-6EA7-6F28-4855-5425E72BEC0C}"/>
          </ac:grpSpMkLst>
        </pc:grpChg>
        <pc:grpChg chg="mod">
          <ac:chgData name="Tobias Brammer" userId="80a1e1bd-3b82-47a5-b259-da62a397db92" providerId="ADAL" clId="{008C3F84-4C29-4233-992B-2D26DEA7756B}" dt="2023-11-22T14:25:19.111" v="26620"/>
          <ac:grpSpMkLst>
            <pc:docMk/>
            <pc:sldMk cId="4030577437" sldId="344"/>
            <ac:grpSpMk id="7" creationId="{D2A87D49-7B50-B2D2-0BF1-F947980DF341}"/>
          </ac:grpSpMkLst>
        </pc:grpChg>
        <pc:picChg chg="add del mod">
          <ac:chgData name="Tobias Brammer" userId="80a1e1bd-3b82-47a5-b259-da62a397db92" providerId="ADAL" clId="{008C3F84-4C29-4233-992B-2D26DEA7756B}" dt="2023-11-21T08:57:05.286" v="16676" actId="478"/>
          <ac:picMkLst>
            <pc:docMk/>
            <pc:sldMk cId="4030577437" sldId="344"/>
            <ac:picMk id="3" creationId="{4DE19490-2E48-2082-D8FF-90AEA1145482}"/>
          </ac:picMkLst>
        </pc:picChg>
        <pc:picChg chg="add del mod">
          <ac:chgData name="Tobias Brammer" userId="80a1e1bd-3b82-47a5-b259-da62a397db92" providerId="ADAL" clId="{008C3F84-4C29-4233-992B-2D26DEA7756B}" dt="2023-11-22T14:25:18.825" v="26619" actId="478"/>
          <ac:picMkLst>
            <pc:docMk/>
            <pc:sldMk cId="4030577437" sldId="344"/>
            <ac:picMk id="5" creationId="{AC1E59B1-D618-5E76-60D5-4803EA52917C}"/>
          </ac:picMkLst>
        </pc:picChg>
        <pc:picChg chg="mod">
          <ac:chgData name="Tobias Brammer" userId="80a1e1bd-3b82-47a5-b259-da62a397db92" providerId="ADAL" clId="{008C3F84-4C29-4233-992B-2D26DEA7756B}" dt="2023-11-22T14:25:19.111" v="26620"/>
          <ac:picMkLst>
            <pc:docMk/>
            <pc:sldMk cId="4030577437" sldId="344"/>
            <ac:picMk id="9" creationId="{54281978-EC0B-F88C-96E6-3D2A01E2432A}"/>
          </ac:picMkLst>
        </pc:picChg>
        <pc:picChg chg="mod">
          <ac:chgData name="Tobias Brammer" userId="80a1e1bd-3b82-47a5-b259-da62a397db92" providerId="ADAL" clId="{008C3F84-4C29-4233-992B-2D26DEA7756B}" dt="2023-11-22T14:25:19.111" v="26620"/>
          <ac:picMkLst>
            <pc:docMk/>
            <pc:sldMk cId="4030577437" sldId="344"/>
            <ac:picMk id="10" creationId="{2AE9135B-80BA-C0D6-03FF-A21D84BB98C1}"/>
          </ac:picMkLst>
        </pc:picChg>
        <pc:picChg chg="mod">
          <ac:chgData name="Tobias Brammer" userId="80a1e1bd-3b82-47a5-b259-da62a397db92" providerId="ADAL" clId="{008C3F84-4C29-4233-992B-2D26DEA7756B}" dt="2023-11-22T14:25:19.111" v="26620"/>
          <ac:picMkLst>
            <pc:docMk/>
            <pc:sldMk cId="4030577437" sldId="344"/>
            <ac:picMk id="11" creationId="{097AF8F0-D7DE-5C83-9739-3B5C7339BACD}"/>
          </ac:picMkLst>
        </pc:picChg>
        <pc:picChg chg="mod">
          <ac:chgData name="Tobias Brammer" userId="80a1e1bd-3b82-47a5-b259-da62a397db92" providerId="ADAL" clId="{008C3F84-4C29-4233-992B-2D26DEA7756B}" dt="2023-11-21T06:55:56.524" v="170" actId="14826"/>
          <ac:picMkLst>
            <pc:docMk/>
            <pc:sldMk cId="4030577437" sldId="344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19.111" v="26620"/>
          <ac:picMkLst>
            <pc:docMk/>
            <pc:sldMk cId="4030577437" sldId="344"/>
            <ac:picMk id="13" creationId="{2E011D40-D3A8-1024-5073-D3D80A47C675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2-08T10:26:57.451" v="27652"/>
        <pc:sldMkLst>
          <pc:docMk/>
          <pc:sldMk cId="1895318357" sldId="345"/>
        </pc:sldMkLst>
        <pc:spChg chg="add mod">
          <ac:chgData name="Tobias Brammer" userId="80a1e1bd-3b82-47a5-b259-da62a397db92" providerId="ADAL" clId="{008C3F84-4C29-4233-992B-2D26DEA7756B}" dt="2023-12-08T10:26:57.451" v="27652"/>
          <ac:spMkLst>
            <pc:docMk/>
            <pc:sldMk cId="1895318357" sldId="345"/>
            <ac:spMk id="5" creationId="{A10881F6-DD82-2807-5A67-6B8716A0361C}"/>
          </ac:spMkLst>
        </pc:spChg>
        <pc:spChg chg="mod">
          <ac:chgData name="Tobias Brammer" userId="80a1e1bd-3b82-47a5-b259-da62a397db92" providerId="ADAL" clId="{008C3F84-4C29-4233-992B-2D26DEA7756B}" dt="2023-11-22T14:27:30.736" v="26656" actId="113"/>
          <ac:spMkLst>
            <pc:docMk/>
            <pc:sldMk cId="1895318357" sldId="345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12.661" v="26617"/>
          <ac:grpSpMkLst>
            <pc:docMk/>
            <pc:sldMk cId="1895318357" sldId="345"/>
            <ac:grpSpMk id="3" creationId="{08EB63F5-7D22-2AF7-0A37-50EB6A5CBA1B}"/>
          </ac:grpSpMkLst>
        </pc:grpChg>
        <pc:grpChg chg="mod">
          <ac:chgData name="Tobias Brammer" userId="80a1e1bd-3b82-47a5-b259-da62a397db92" providerId="ADAL" clId="{008C3F84-4C29-4233-992B-2D26DEA7756B}" dt="2023-11-22T14:25:12.661" v="26617"/>
          <ac:grpSpMkLst>
            <pc:docMk/>
            <pc:sldMk cId="1895318357" sldId="345"/>
            <ac:grpSpMk id="6" creationId="{84E61439-8E7B-01AC-CDFB-856F16148516}"/>
          </ac:grpSpMkLst>
        </pc:grpChg>
        <pc:grpChg chg="mod">
          <ac:chgData name="Tobias Brammer" userId="80a1e1bd-3b82-47a5-b259-da62a397db92" providerId="ADAL" clId="{008C3F84-4C29-4233-992B-2D26DEA7756B}" dt="2023-11-22T14:25:12.661" v="26617"/>
          <ac:grpSpMkLst>
            <pc:docMk/>
            <pc:sldMk cId="1895318357" sldId="345"/>
            <ac:grpSpMk id="7" creationId="{151EC8C6-182D-C147-EE5D-AC1D24A45A35}"/>
          </ac:grpSpMkLst>
        </pc:grpChg>
        <pc:picChg chg="add del mod">
          <ac:chgData name="Tobias Brammer" userId="80a1e1bd-3b82-47a5-b259-da62a397db92" providerId="ADAL" clId="{008C3F84-4C29-4233-992B-2D26DEA7756B}" dt="2023-11-21T08:57:07.759" v="16678" actId="478"/>
          <ac:picMkLst>
            <pc:docMk/>
            <pc:sldMk cId="1895318357" sldId="345"/>
            <ac:picMk id="3" creationId="{6D68A382-7C7B-7FA8-43D3-E9F0D177B9FA}"/>
          </ac:picMkLst>
        </pc:picChg>
        <pc:picChg chg="add del mod">
          <ac:chgData name="Tobias Brammer" userId="80a1e1bd-3b82-47a5-b259-da62a397db92" providerId="ADAL" clId="{008C3F84-4C29-4233-992B-2D26DEA7756B}" dt="2023-11-22T14:25:14.303" v="26618" actId="478"/>
          <ac:picMkLst>
            <pc:docMk/>
            <pc:sldMk cId="1895318357" sldId="345"/>
            <ac:picMk id="5" creationId="{90163ED5-D2A5-ACE4-4161-A4442EB303D4}"/>
          </ac:picMkLst>
        </pc:picChg>
        <pc:picChg chg="mod">
          <ac:chgData name="Tobias Brammer" userId="80a1e1bd-3b82-47a5-b259-da62a397db92" providerId="ADAL" clId="{008C3F84-4C29-4233-992B-2D26DEA7756B}" dt="2023-11-22T14:25:12.661" v="26617"/>
          <ac:picMkLst>
            <pc:docMk/>
            <pc:sldMk cId="1895318357" sldId="345"/>
            <ac:picMk id="9" creationId="{DDE667FF-1DF2-19FE-7653-DD39B08E1ADD}"/>
          </ac:picMkLst>
        </pc:picChg>
        <pc:picChg chg="mod">
          <ac:chgData name="Tobias Brammer" userId="80a1e1bd-3b82-47a5-b259-da62a397db92" providerId="ADAL" clId="{008C3F84-4C29-4233-992B-2D26DEA7756B}" dt="2023-11-22T14:25:12.661" v="26617"/>
          <ac:picMkLst>
            <pc:docMk/>
            <pc:sldMk cId="1895318357" sldId="345"/>
            <ac:picMk id="10" creationId="{7796A3B2-6AA3-0A48-8B9C-2F8C5AA810C0}"/>
          </ac:picMkLst>
        </pc:picChg>
        <pc:picChg chg="mod">
          <ac:chgData name="Tobias Brammer" userId="80a1e1bd-3b82-47a5-b259-da62a397db92" providerId="ADAL" clId="{008C3F84-4C29-4233-992B-2D26DEA7756B}" dt="2023-11-22T14:25:12.661" v="26617"/>
          <ac:picMkLst>
            <pc:docMk/>
            <pc:sldMk cId="1895318357" sldId="345"/>
            <ac:picMk id="11" creationId="{EE29CEC1-AA7B-A122-8EE9-25D342D1310A}"/>
          </ac:picMkLst>
        </pc:picChg>
        <pc:picChg chg="mod">
          <ac:chgData name="Tobias Brammer" userId="80a1e1bd-3b82-47a5-b259-da62a397db92" providerId="ADAL" clId="{008C3F84-4C29-4233-992B-2D26DEA7756B}" dt="2023-11-21T06:56:14.044" v="172" actId="14826"/>
          <ac:picMkLst>
            <pc:docMk/>
            <pc:sldMk cId="1895318357" sldId="345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12.661" v="26617"/>
          <ac:picMkLst>
            <pc:docMk/>
            <pc:sldMk cId="1895318357" sldId="345"/>
            <ac:picMk id="13" creationId="{0C488EE9-BD68-9727-9677-97FCC5F95203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2-08T10:26:58.324" v="27653"/>
        <pc:sldMkLst>
          <pc:docMk/>
          <pc:sldMk cId="2111727864" sldId="346"/>
        </pc:sldMkLst>
        <pc:spChg chg="add mod">
          <ac:chgData name="Tobias Brammer" userId="80a1e1bd-3b82-47a5-b259-da62a397db92" providerId="ADAL" clId="{008C3F84-4C29-4233-992B-2D26DEA7756B}" dt="2023-12-08T10:26:58.324" v="27653"/>
          <ac:spMkLst>
            <pc:docMk/>
            <pc:sldMk cId="2111727864" sldId="346"/>
            <ac:spMk id="5" creationId="{976759E0-7BC7-F365-621C-05356F0430AC}"/>
          </ac:spMkLst>
        </pc:spChg>
        <pc:spChg chg="mod">
          <ac:chgData name="Tobias Brammer" userId="80a1e1bd-3b82-47a5-b259-da62a397db92" providerId="ADAL" clId="{008C3F84-4C29-4233-992B-2D26DEA7756B}" dt="2023-11-22T14:27:34.408" v="26657" actId="113"/>
          <ac:spMkLst>
            <pc:docMk/>
            <pc:sldMk cId="2111727864" sldId="346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07.719" v="26615"/>
          <ac:grpSpMkLst>
            <pc:docMk/>
            <pc:sldMk cId="2111727864" sldId="346"/>
            <ac:grpSpMk id="3" creationId="{BFAFBC63-C47E-E630-039E-502650DA96E5}"/>
          </ac:grpSpMkLst>
        </pc:grpChg>
        <pc:grpChg chg="mod">
          <ac:chgData name="Tobias Brammer" userId="80a1e1bd-3b82-47a5-b259-da62a397db92" providerId="ADAL" clId="{008C3F84-4C29-4233-992B-2D26DEA7756B}" dt="2023-11-22T14:25:07.719" v="26615"/>
          <ac:grpSpMkLst>
            <pc:docMk/>
            <pc:sldMk cId="2111727864" sldId="346"/>
            <ac:grpSpMk id="6" creationId="{78E4443C-CBB9-4BE2-B4F9-AC9BFD7E42A9}"/>
          </ac:grpSpMkLst>
        </pc:grpChg>
        <pc:grpChg chg="mod">
          <ac:chgData name="Tobias Brammer" userId="80a1e1bd-3b82-47a5-b259-da62a397db92" providerId="ADAL" clId="{008C3F84-4C29-4233-992B-2D26DEA7756B}" dt="2023-11-22T14:25:07.719" v="26615"/>
          <ac:grpSpMkLst>
            <pc:docMk/>
            <pc:sldMk cId="2111727864" sldId="346"/>
            <ac:grpSpMk id="7" creationId="{9A172D8B-3850-ECBC-94B0-815F63043895}"/>
          </ac:grpSpMkLst>
        </pc:grpChg>
        <pc:picChg chg="add del mod">
          <ac:chgData name="Tobias Brammer" userId="80a1e1bd-3b82-47a5-b259-da62a397db92" providerId="ADAL" clId="{008C3F84-4C29-4233-992B-2D26DEA7756B}" dt="2023-11-21T08:57:10.224" v="16680" actId="478"/>
          <ac:picMkLst>
            <pc:docMk/>
            <pc:sldMk cId="2111727864" sldId="346"/>
            <ac:picMk id="3" creationId="{C5D8172A-A688-8A90-5671-CD484627EF66}"/>
          </ac:picMkLst>
        </pc:picChg>
        <pc:picChg chg="add del mod">
          <ac:chgData name="Tobias Brammer" userId="80a1e1bd-3b82-47a5-b259-da62a397db92" providerId="ADAL" clId="{008C3F84-4C29-4233-992B-2D26DEA7756B}" dt="2023-11-22T14:25:09.436" v="26616" actId="478"/>
          <ac:picMkLst>
            <pc:docMk/>
            <pc:sldMk cId="2111727864" sldId="346"/>
            <ac:picMk id="5" creationId="{6CEFFA60-89BA-3347-AAC1-9544B7D40E08}"/>
          </ac:picMkLst>
        </pc:picChg>
        <pc:picChg chg="mod">
          <ac:chgData name="Tobias Brammer" userId="80a1e1bd-3b82-47a5-b259-da62a397db92" providerId="ADAL" clId="{008C3F84-4C29-4233-992B-2D26DEA7756B}" dt="2023-11-22T14:25:07.719" v="26615"/>
          <ac:picMkLst>
            <pc:docMk/>
            <pc:sldMk cId="2111727864" sldId="346"/>
            <ac:picMk id="9" creationId="{BB6A5C54-C019-1B54-73CD-77D744DC84A3}"/>
          </ac:picMkLst>
        </pc:picChg>
        <pc:picChg chg="mod">
          <ac:chgData name="Tobias Brammer" userId="80a1e1bd-3b82-47a5-b259-da62a397db92" providerId="ADAL" clId="{008C3F84-4C29-4233-992B-2D26DEA7756B}" dt="2023-11-22T14:25:07.719" v="26615"/>
          <ac:picMkLst>
            <pc:docMk/>
            <pc:sldMk cId="2111727864" sldId="346"/>
            <ac:picMk id="10" creationId="{6228D2F9-3EC3-3DF9-68B7-559C6639E3AE}"/>
          </ac:picMkLst>
        </pc:picChg>
        <pc:picChg chg="mod">
          <ac:chgData name="Tobias Brammer" userId="80a1e1bd-3b82-47a5-b259-da62a397db92" providerId="ADAL" clId="{008C3F84-4C29-4233-992B-2D26DEA7756B}" dt="2023-11-22T14:25:07.719" v="26615"/>
          <ac:picMkLst>
            <pc:docMk/>
            <pc:sldMk cId="2111727864" sldId="346"/>
            <ac:picMk id="11" creationId="{35EA3651-1077-7280-0D68-85A2183D8DEA}"/>
          </ac:picMkLst>
        </pc:picChg>
        <pc:picChg chg="mod">
          <ac:chgData name="Tobias Brammer" userId="80a1e1bd-3b82-47a5-b259-da62a397db92" providerId="ADAL" clId="{008C3F84-4C29-4233-992B-2D26DEA7756B}" dt="2023-11-21T06:56:30.874" v="178" actId="1036"/>
          <ac:picMkLst>
            <pc:docMk/>
            <pc:sldMk cId="2111727864" sldId="346"/>
            <ac:picMk id="12" creationId="{BC45735F-E063-4678-D02A-CBB56F461006}"/>
          </ac:picMkLst>
        </pc:picChg>
        <pc:picChg chg="mod">
          <ac:chgData name="Tobias Brammer" userId="80a1e1bd-3b82-47a5-b259-da62a397db92" providerId="ADAL" clId="{008C3F84-4C29-4233-992B-2D26DEA7756B}" dt="2023-11-22T14:25:07.719" v="26615"/>
          <ac:picMkLst>
            <pc:docMk/>
            <pc:sldMk cId="2111727864" sldId="346"/>
            <ac:picMk id="13" creationId="{2FC71AE6-B195-2B74-BAF4-5C1F10ADB62D}"/>
          </ac:picMkLst>
        </pc:picChg>
      </pc:sldChg>
      <pc:sldChg chg="delSp add del mod">
        <pc:chgData name="Tobias Brammer" userId="80a1e1bd-3b82-47a5-b259-da62a397db92" providerId="ADAL" clId="{008C3F84-4C29-4233-992B-2D26DEA7756B}" dt="2023-11-21T06:57:09.217" v="184" actId="47"/>
        <pc:sldMkLst>
          <pc:docMk/>
          <pc:sldMk cId="3176202514" sldId="347"/>
        </pc:sldMkLst>
        <pc:picChg chg="del">
          <ac:chgData name="Tobias Brammer" userId="80a1e1bd-3b82-47a5-b259-da62a397db92" providerId="ADAL" clId="{008C3F84-4C29-4233-992B-2D26DEA7756B}" dt="2023-11-21T06:57:06.887" v="183" actId="478"/>
          <ac:picMkLst>
            <pc:docMk/>
            <pc:sldMk cId="3176202514" sldId="347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1T06:57:19.559" v="231"/>
        <pc:sldMkLst>
          <pc:docMk/>
          <pc:sldMk cId="3745807297" sldId="347"/>
        </pc:sldMkLst>
        <pc:spChg chg="mod">
          <ac:chgData name="Tobias Brammer" userId="80a1e1bd-3b82-47a5-b259-da62a397db92" providerId="ADAL" clId="{008C3F84-4C29-4233-992B-2D26DEA7756B}" dt="2023-11-21T06:57:19.544" v="204" actId="948"/>
          <ac:spMkLst>
            <pc:docMk/>
            <pc:sldMk cId="3745807297" sldId="347"/>
            <ac:spMk id="2" creationId="{3211FE1D-FF86-0AFA-5921-A013D2808BA6}"/>
          </ac:spMkLst>
        </pc:spChg>
        <pc:spChg chg="add del mod modVis">
          <ac:chgData name="Tobias Brammer" userId="80a1e1bd-3b82-47a5-b259-da62a397db92" providerId="ADAL" clId="{008C3F84-4C29-4233-992B-2D26DEA7756B}" dt="2023-11-21T06:57:19.559" v="229"/>
          <ac:spMkLst>
            <pc:docMk/>
            <pc:sldMk cId="3745807297" sldId="347"/>
            <ac:spMk id="5" creationId="{BBA560AA-F30B-D662-2A93-BE689558050A}"/>
          </ac:spMkLst>
        </pc:spChg>
        <pc:graphicFrameChg chg="mod">
          <ac:chgData name="Tobias Brammer" userId="80a1e1bd-3b82-47a5-b259-da62a397db92" providerId="ADAL" clId="{008C3F84-4C29-4233-992B-2D26DEA7756B}" dt="2023-11-21T06:57:19.559" v="231"/>
          <ac:graphicFrameMkLst>
            <pc:docMk/>
            <pc:sldMk cId="3745807297" sldId="347"/>
            <ac:graphicFrameMk id="4" creationId="{CFBFA525-500E-18C1-4247-C00AF685E7F5}"/>
          </ac:graphicFrameMkLst>
        </pc:graphicFrameChg>
      </pc:sldChg>
      <pc:sldChg chg="modSp add del">
        <pc:chgData name="Tobias Brammer" userId="80a1e1bd-3b82-47a5-b259-da62a397db92" providerId="ADAL" clId="{008C3F84-4C29-4233-992B-2D26DEA7756B}" dt="2023-11-21T06:56:52.892" v="181" actId="47"/>
        <pc:sldMkLst>
          <pc:docMk/>
          <pc:sldMk cId="3748938952" sldId="347"/>
        </pc:sldMkLst>
        <pc:picChg chg="mod">
          <ac:chgData name="Tobias Brammer" userId="80a1e1bd-3b82-47a5-b259-da62a397db92" providerId="ADAL" clId="{008C3F84-4C29-4233-992B-2D26DEA7756B}" dt="2023-11-21T06:56:48.720" v="180" actId="14826"/>
          <ac:picMkLst>
            <pc:docMk/>
            <pc:sldMk cId="3748938952" sldId="347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1-22T14:17:01.309" v="26301" actId="113"/>
        <pc:sldMkLst>
          <pc:docMk/>
          <pc:sldMk cId="3355994258" sldId="348"/>
        </pc:sldMkLst>
        <pc:spChg chg="mod">
          <ac:chgData name="Tobias Brammer" userId="80a1e1bd-3b82-47a5-b259-da62a397db92" providerId="ADAL" clId="{008C3F84-4C29-4233-992B-2D26DEA7756B}" dt="2023-11-22T14:17:01.309" v="26301" actId="113"/>
          <ac:spMkLst>
            <pc:docMk/>
            <pc:sldMk cId="3355994258" sldId="348"/>
            <ac:spMk id="8" creationId="{9974A259-DC86-27AE-073B-E1B517848965}"/>
          </ac:spMkLst>
        </pc:spChg>
        <pc:picChg chg="add del mod">
          <ac:chgData name="Tobias Brammer" userId="80a1e1bd-3b82-47a5-b259-da62a397db92" providerId="ADAL" clId="{008C3F84-4C29-4233-992B-2D26DEA7756B}" dt="2023-11-21T08:53:44.452" v="16491"/>
          <ac:picMkLst>
            <pc:docMk/>
            <pc:sldMk cId="3355994258" sldId="348"/>
            <ac:picMk id="3" creationId="{1E80CD3E-58AC-D385-168A-BD9B3FC66BC7}"/>
          </ac:picMkLst>
        </pc:picChg>
        <pc:picChg chg="mod">
          <ac:chgData name="Tobias Brammer" userId="80a1e1bd-3b82-47a5-b259-da62a397db92" providerId="ADAL" clId="{008C3F84-4C29-4233-992B-2D26DEA7756B}" dt="2023-11-21T06:57:43.646" v="235" actId="14826"/>
          <ac:picMkLst>
            <pc:docMk/>
            <pc:sldMk cId="3355994258" sldId="348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008C3F84-4C29-4233-992B-2D26DEA7756B}" dt="2023-12-07T14:09:51.920" v="26977" actId="20577"/>
        <pc:sldMkLst>
          <pc:docMk/>
          <pc:sldMk cId="2455844067" sldId="349"/>
        </pc:sldMkLst>
        <pc:spChg chg="mod">
          <ac:chgData name="Tobias Brammer" userId="80a1e1bd-3b82-47a5-b259-da62a397db92" providerId="ADAL" clId="{008C3F84-4C29-4233-992B-2D26DEA7756B}" dt="2023-12-07T14:09:51.920" v="26977" actId="20577"/>
          <ac:spMkLst>
            <pc:docMk/>
            <pc:sldMk cId="2455844067" sldId="349"/>
            <ac:spMk id="8" creationId="{9974A259-DC86-27AE-073B-E1B517848965}"/>
          </ac:spMkLst>
        </pc:spChg>
        <pc:picChg chg="mod">
          <ac:chgData name="Tobias Brammer" userId="80a1e1bd-3b82-47a5-b259-da62a397db92" providerId="ADAL" clId="{008C3F84-4C29-4233-992B-2D26DEA7756B}" dt="2023-11-21T06:57:56.224" v="237" actId="14826"/>
          <ac:picMkLst>
            <pc:docMk/>
            <pc:sldMk cId="2455844067" sldId="349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2-08T10:27:08" v="27654"/>
        <pc:sldMkLst>
          <pc:docMk/>
          <pc:sldMk cId="3084406832" sldId="350"/>
        </pc:sldMkLst>
        <pc:spChg chg="add mod">
          <ac:chgData name="Tobias Brammer" userId="80a1e1bd-3b82-47a5-b259-da62a397db92" providerId="ADAL" clId="{008C3F84-4C29-4233-992B-2D26DEA7756B}" dt="2023-12-08T10:27:08" v="27654"/>
          <ac:spMkLst>
            <pc:docMk/>
            <pc:sldMk cId="3084406832" sldId="350"/>
            <ac:spMk id="3" creationId="{72FE5681-6A1A-0FBD-E92B-C65A808E7892}"/>
          </ac:spMkLst>
        </pc:spChg>
        <pc:spChg chg="mod">
          <ac:chgData name="Tobias Brammer" userId="80a1e1bd-3b82-47a5-b259-da62a397db92" providerId="ADAL" clId="{008C3F84-4C29-4233-992B-2D26DEA7756B}" dt="2023-12-07T14:11:53.548" v="26980" actId="20577"/>
          <ac:spMkLst>
            <pc:docMk/>
            <pc:sldMk cId="3084406832" sldId="350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4:45.988" v="26613" actId="164"/>
          <ac:grpSpMkLst>
            <pc:docMk/>
            <pc:sldMk cId="3084406832" sldId="350"/>
            <ac:grpSpMk id="14" creationId="{A61805FC-02CE-AC80-5B55-83C2649F5B0C}"/>
          </ac:grpSpMkLst>
        </pc:grpChg>
        <pc:grpChg chg="add mod">
          <ac:chgData name="Tobias Brammer" userId="80a1e1bd-3b82-47a5-b259-da62a397db92" providerId="ADAL" clId="{008C3F84-4C29-4233-992B-2D26DEA7756B}" dt="2023-11-22T14:24:45.988" v="26613" actId="164"/>
          <ac:grpSpMkLst>
            <pc:docMk/>
            <pc:sldMk cId="3084406832" sldId="350"/>
            <ac:grpSpMk id="16" creationId="{AAEC43C7-61F7-9119-1A98-8B7058A1BE12}"/>
          </ac:grpSpMkLst>
        </pc:grpChg>
        <pc:grpChg chg="add mod">
          <ac:chgData name="Tobias Brammer" userId="80a1e1bd-3b82-47a5-b259-da62a397db92" providerId="ADAL" clId="{008C3F84-4C29-4233-992B-2D26DEA7756B}" dt="2023-11-22T14:24:59.026" v="26614" actId="1076"/>
          <ac:grpSpMkLst>
            <pc:docMk/>
            <pc:sldMk cId="3084406832" sldId="350"/>
            <ac:grpSpMk id="17" creationId="{10F59439-F178-88C9-E1FD-A924AB5C04BB}"/>
          </ac:grpSpMkLst>
        </pc:grpChg>
        <pc:picChg chg="add del mod">
          <ac:chgData name="Tobias Brammer" userId="80a1e1bd-3b82-47a5-b259-da62a397db92" providerId="ADAL" clId="{008C3F84-4C29-4233-992B-2D26DEA7756B}" dt="2023-11-21T08:57:16.184" v="16682" actId="478"/>
          <ac:picMkLst>
            <pc:docMk/>
            <pc:sldMk cId="3084406832" sldId="350"/>
            <ac:picMk id="3" creationId="{4786AB07-2406-95EC-CCA8-9861DC776103}"/>
          </ac:picMkLst>
        </pc:picChg>
        <pc:picChg chg="add del mod">
          <ac:chgData name="Tobias Brammer" userId="80a1e1bd-3b82-47a5-b259-da62a397db92" providerId="ADAL" clId="{008C3F84-4C29-4233-992B-2D26DEA7756B}" dt="2023-12-07T14:10:04.326" v="26978" actId="478"/>
          <ac:picMkLst>
            <pc:docMk/>
            <pc:sldMk cId="3084406832" sldId="350"/>
            <ac:picMk id="5" creationId="{ED04EF7B-D88D-6242-1524-30BC9A659745}"/>
          </ac:picMkLst>
        </pc:picChg>
        <pc:picChg chg="del mod replST">
          <ac:chgData name="Tobias Brammer" userId="80a1e1bd-3b82-47a5-b259-da62a397db92" providerId="ADAL" clId="{008C3F84-4C29-4233-992B-2D26DEA7756B}" dt="2023-11-22T14:22:07.593" v="26363" actId="478"/>
          <ac:picMkLst>
            <pc:docMk/>
            <pc:sldMk cId="3084406832" sldId="350"/>
            <ac:picMk id="6" creationId="{01328FDE-32E2-82B4-356C-6E0EDA2E83FC}"/>
          </ac:picMkLst>
        </pc:picChg>
        <pc:picChg chg="add del mod">
          <ac:chgData name="Tobias Brammer" userId="80a1e1bd-3b82-47a5-b259-da62a397db92" providerId="ADAL" clId="{008C3F84-4C29-4233-992B-2D26DEA7756B}" dt="2023-11-22T14:22:03.595" v="26359" actId="478"/>
          <ac:picMkLst>
            <pc:docMk/>
            <pc:sldMk cId="3084406832" sldId="350"/>
            <ac:picMk id="7" creationId="{B3D0A8DD-790D-7436-A04E-4E3819C65A86}"/>
          </ac:picMkLst>
        </pc:picChg>
        <pc:picChg chg="mod ord replST modCrop">
          <ac:chgData name="Tobias Brammer" userId="80a1e1bd-3b82-47a5-b259-da62a397db92" providerId="ADAL" clId="{008C3F84-4C29-4233-992B-2D26DEA7756B}" dt="2023-11-22T14:24:17.943" v="26555" actId="164"/>
          <ac:picMkLst>
            <pc:docMk/>
            <pc:sldMk cId="3084406832" sldId="350"/>
            <ac:picMk id="10" creationId="{05AA19C0-EA5B-042E-7555-6240F7BA2AA3}"/>
          </ac:picMkLst>
        </pc:picChg>
        <pc:picChg chg="add mod modCrop">
          <ac:chgData name="Tobias Brammer" userId="80a1e1bd-3b82-47a5-b259-da62a397db92" providerId="ADAL" clId="{008C3F84-4C29-4233-992B-2D26DEA7756B}" dt="2023-11-22T14:23:37.741" v="26536" actId="164"/>
          <ac:picMkLst>
            <pc:docMk/>
            <pc:sldMk cId="3084406832" sldId="350"/>
            <ac:picMk id="11" creationId="{6D2D7255-4A85-9D5A-8465-7A6156C173C2}"/>
          </ac:picMkLst>
        </pc:picChg>
        <pc:picChg chg="mod">
          <ac:chgData name="Tobias Brammer" userId="80a1e1bd-3b82-47a5-b259-da62a397db92" providerId="ADAL" clId="{008C3F84-4C29-4233-992B-2D26DEA7756B}" dt="2023-11-21T06:58:12.040" v="239" actId="14826"/>
          <ac:picMkLst>
            <pc:docMk/>
            <pc:sldMk cId="3084406832" sldId="350"/>
            <ac:picMk id="12" creationId="{BC45735F-E063-4678-D02A-CBB56F461006}"/>
          </ac:picMkLst>
        </pc:picChg>
        <pc:picChg chg="add mod modCrop">
          <ac:chgData name="Tobias Brammer" userId="80a1e1bd-3b82-47a5-b259-da62a397db92" providerId="ADAL" clId="{008C3F84-4C29-4233-992B-2D26DEA7756B}" dt="2023-11-22T14:23:37.741" v="26536" actId="164"/>
          <ac:picMkLst>
            <pc:docMk/>
            <pc:sldMk cId="3084406832" sldId="350"/>
            <ac:picMk id="13" creationId="{755B8079-73C9-10CC-12FA-2A6772D21A37}"/>
          </ac:picMkLst>
        </pc:picChg>
        <pc:picChg chg="add mod modCrop">
          <ac:chgData name="Tobias Brammer" userId="80a1e1bd-3b82-47a5-b259-da62a397db92" providerId="ADAL" clId="{008C3F84-4C29-4233-992B-2D26DEA7756B}" dt="2023-11-22T14:24:17.943" v="26555" actId="164"/>
          <ac:picMkLst>
            <pc:docMk/>
            <pc:sldMk cId="3084406832" sldId="350"/>
            <ac:picMk id="15" creationId="{1FA4AE78-B6D8-BB42-EE2F-B8D36791606D}"/>
          </ac:picMkLst>
        </pc:picChg>
      </pc:sldChg>
      <pc:sldChg chg="delSp modSp add del mod">
        <pc:chgData name="Tobias Brammer" userId="80a1e1bd-3b82-47a5-b259-da62a397db92" providerId="ADAL" clId="{008C3F84-4C29-4233-992B-2D26DEA7756B}" dt="2023-11-21T07:51:52.239" v="1707" actId="47"/>
        <pc:sldMkLst>
          <pc:docMk/>
          <pc:sldMk cId="2307370957" sldId="351"/>
        </pc:sldMkLst>
        <pc:spChg chg="mod">
          <ac:chgData name="Tobias Brammer" userId="80a1e1bd-3b82-47a5-b259-da62a397db92" providerId="ADAL" clId="{008C3F84-4C29-4233-992B-2D26DEA7756B}" dt="2023-11-21T07:22:22.309" v="948" actId="948"/>
          <ac:spMkLst>
            <pc:docMk/>
            <pc:sldMk cId="2307370957" sldId="351"/>
            <ac:spMk id="2" creationId="{F7A7B11F-5560-4450-B29C-AA36EE47DBD5}"/>
          </ac:spMkLst>
        </pc:spChg>
        <pc:graphicFrameChg chg="mod">
          <ac:chgData name="Tobias Brammer" userId="80a1e1bd-3b82-47a5-b259-da62a397db92" providerId="ADAL" clId="{008C3F84-4C29-4233-992B-2D26DEA7756B}" dt="2023-11-21T07:22:22.309" v="952"/>
          <ac:graphicFrameMkLst>
            <pc:docMk/>
            <pc:sldMk cId="2307370957" sldId="351"/>
            <ac:graphicFrameMk id="4" creationId="{79C05AFC-9555-D40C-AD9D-3E13BD0A4FC2}"/>
          </ac:graphicFrameMkLst>
        </pc:graphicFrameChg>
        <pc:picChg chg="del">
          <ac:chgData name="Tobias Brammer" userId="80a1e1bd-3b82-47a5-b259-da62a397db92" providerId="ADAL" clId="{008C3F84-4C29-4233-992B-2D26DEA7756B}" dt="2023-11-21T07:22:25.173" v="953" actId="478"/>
          <ac:picMkLst>
            <pc:docMk/>
            <pc:sldMk cId="2307370957" sldId="351"/>
            <ac:picMk id="5" creationId="{61AC1B65-A75D-8FEA-A4C1-B1F7480F9899}"/>
          </ac:picMkLst>
        </pc:picChg>
      </pc:sldChg>
      <pc:sldChg chg="addSp delSp modSp add del mod ord">
        <pc:chgData name="Tobias Brammer" userId="80a1e1bd-3b82-47a5-b259-da62a397db92" providerId="ADAL" clId="{008C3F84-4C29-4233-992B-2D26DEA7756B}" dt="2023-11-21T07:44:27.544" v="1094" actId="47"/>
        <pc:sldMkLst>
          <pc:docMk/>
          <pc:sldMk cId="4049628814" sldId="352"/>
        </pc:sldMkLst>
        <pc:picChg chg="add mod modCrop">
          <ac:chgData name="Tobias Brammer" userId="80a1e1bd-3b82-47a5-b259-da62a397db92" providerId="ADAL" clId="{008C3F84-4C29-4233-992B-2D26DEA7756B}" dt="2023-11-21T07:43:02.686" v="1083" actId="1076"/>
          <ac:picMkLst>
            <pc:docMk/>
            <pc:sldMk cId="4049628814" sldId="352"/>
            <ac:picMk id="2" creationId="{FD05484F-7007-07A1-C881-7145252C063D}"/>
          </ac:picMkLst>
        </pc:picChg>
        <pc:picChg chg="del">
          <ac:chgData name="Tobias Brammer" userId="80a1e1bd-3b82-47a5-b259-da62a397db92" providerId="ADAL" clId="{008C3F84-4C29-4233-992B-2D26DEA7756B}" dt="2023-11-21T07:32:24.106" v="971" actId="478"/>
          <ac:picMkLst>
            <pc:docMk/>
            <pc:sldMk cId="4049628814" sldId="352"/>
            <ac:picMk id="12" creationId="{47664333-D894-5056-83A2-6BDBEC61091C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2-08T08:40:47.241" v="27443" actId="20577"/>
        <pc:sldMkLst>
          <pc:docMk/>
          <pc:sldMk cId="236324760" sldId="353"/>
        </pc:sldMkLst>
        <pc:spChg chg="mod">
          <ac:chgData name="Tobias Brammer" userId="80a1e1bd-3b82-47a5-b259-da62a397db92" providerId="ADAL" clId="{008C3F84-4C29-4233-992B-2D26DEA7756B}" dt="2023-12-08T08:40:47.241" v="27443" actId="20577"/>
          <ac:spMkLst>
            <pc:docMk/>
            <pc:sldMk cId="236324760" sldId="353"/>
            <ac:spMk id="5" creationId="{0256447C-D35F-4F86-D90B-E90F6B46AE7F}"/>
          </ac:spMkLst>
        </pc:spChg>
        <pc:spChg chg="mod">
          <ac:chgData name="Tobias Brammer" userId="80a1e1bd-3b82-47a5-b259-da62a397db92" providerId="ADAL" clId="{008C3F84-4C29-4233-992B-2D26DEA7756B}" dt="2023-11-22T12:11:28.035" v="22399"/>
          <ac:spMkLst>
            <pc:docMk/>
            <pc:sldMk cId="236324760" sldId="353"/>
            <ac:spMk id="8" creationId="{D0295260-AF11-EF72-AFFE-2EE14D05D8A0}"/>
          </ac:spMkLst>
        </pc:spChg>
        <pc:spChg chg="mod">
          <ac:chgData name="Tobias Brammer" userId="80a1e1bd-3b82-47a5-b259-da62a397db92" providerId="ADAL" clId="{008C3F84-4C29-4233-992B-2D26DEA7756B}" dt="2023-11-22T12:41:15.022" v="23962" actId="948"/>
          <ac:spMkLst>
            <pc:docMk/>
            <pc:sldMk cId="236324760" sldId="353"/>
            <ac:spMk id="10" creationId="{AF9B0DCC-E14E-05AE-4D33-CE315A7426D6}"/>
          </ac:spMkLst>
        </pc:spChg>
        <pc:spChg chg="add del mod modVis">
          <ac:chgData name="Tobias Brammer" userId="80a1e1bd-3b82-47a5-b259-da62a397db92" providerId="ADAL" clId="{008C3F84-4C29-4233-992B-2D26DEA7756B}" dt="2023-11-22T12:41:13.881" v="23957"/>
          <ac:spMkLst>
            <pc:docMk/>
            <pc:sldMk cId="236324760" sldId="353"/>
            <ac:spMk id="11" creationId="{61150266-D786-B7BA-BE23-4D61D6E74693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1" creationId="{E75A349B-BEFA-F923-CDDB-BC1EC01D210A}"/>
          </ac:spMkLst>
        </pc:spChg>
        <pc:spChg chg="add del mod modVis">
          <ac:chgData name="Tobias Brammer" userId="80a1e1bd-3b82-47a5-b259-da62a397db92" providerId="ADAL" clId="{008C3F84-4C29-4233-992B-2D26DEA7756B}" dt="2023-11-22T12:41:15.050" v="23987"/>
          <ac:spMkLst>
            <pc:docMk/>
            <pc:sldMk cId="236324760" sldId="353"/>
            <ac:spMk id="12" creationId="{E1C01EED-BF49-77AA-9C44-679A58DB9A70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3" creationId="{F083BAE3-7054-E71B-1705-FEE726B1537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4" creationId="{7C8AFF31-3A7F-928C-4A98-B8E819355ED7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5" creationId="{841E9059-931E-61E5-5A59-963A194D3FBF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6" creationId="{B5CB25A3-0BEC-E0B1-17FD-47789E3C0918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7" creationId="{8291B8BC-C3F3-DBEF-F9B0-5A393E41299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8" creationId="{1E904CFF-13F1-ADBD-5B30-924B7093BC76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19" creationId="{F9A9DB95-D16D-6EB3-CC0E-3431B3AE5A3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0" creationId="{CE440282-FDC2-F958-E60B-533243AE630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1" creationId="{2C21B2E3-573B-C84D-40BA-3239063CDC88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2" creationId="{AA7D4B0F-32F7-9CB2-D984-21A2EADAAC87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3" creationId="{83071FA6-ECE8-7CA2-696B-EDE6A6B0DF86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4" creationId="{A6912112-9AD8-5CC6-8C9F-96043F8DE333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5" creationId="{E93099A6-08C5-EFD3-8FCD-D47E9F6ACFCE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6" creationId="{71EE0026-66B9-FC99-9550-45444A57DD2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7" creationId="{E88D1B0E-8025-E208-1A3F-2F1481E25A1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8" creationId="{F257532B-DB22-5544-5FD9-D72774C8CE4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29" creationId="{3FA4F551-A84A-E4A2-995F-F308FC863A4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0" creationId="{DCD22FBB-78E8-B30D-CA8C-12E86855B78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1" creationId="{07F2F1CC-E570-55B4-4536-16C422DC146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2" creationId="{9DA551CB-FD7E-7571-FD58-6F2B802F9D84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3" creationId="{CEE98706-055B-B0A5-2A78-68149D35620F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4" creationId="{8A2FDE10-6133-651B-3CA7-B89B06BDADA2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5" creationId="{C94DD82D-CBE6-1849-B727-A1E70A280C5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6" creationId="{AD96137E-5945-675A-4F41-1E174E7BCA4C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7" creationId="{1B30816E-0A49-438C-D044-A8E6A95E9507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8" creationId="{1E7BE3C1-98F9-A2ED-757F-AA62314F3862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39" creationId="{80B26356-E2F0-77DC-15E9-F6EE94CC1A1E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0" creationId="{165FAED9-4884-455B-6E68-3F624C8D813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1" creationId="{D3C53039-CE7F-DAA3-FBB9-74B214C87B8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2" creationId="{A7E4B33C-E482-90F8-E429-6554DDFF9DD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3" creationId="{A5350E24-21EA-A61E-C07E-C2AE44EA005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4" creationId="{F3F963A0-D809-7675-53D5-124B4156751E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5" creationId="{5C84FCD9-9A61-96FF-22C0-03702C85E52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6" creationId="{6416EF84-6D91-9532-88AC-5B9D38E7E62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7" creationId="{51F9AF31-DE98-2832-2A05-BD8C16DE2605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8" creationId="{8BC10F55-10E1-C2C8-E874-012848549C6F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49" creationId="{176CFECB-882E-03C4-4C9E-8AD439554AC8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0" creationId="{EAF12946-546B-5CD1-9FD7-6304B21B2C3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1" creationId="{E46A4935-15DC-CF61-5FC6-64D51C06A663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2" creationId="{D2A386BE-090B-E530-7BF3-892ED85B520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3" creationId="{9C2EDE0E-7948-0EFD-B52C-16524DF8D33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4" creationId="{FCD0BDF8-90DA-5BF3-D891-FF3957628F82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5" creationId="{5B12530B-C7F5-AF2D-BC22-A7317929357B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6" creationId="{EC3EFC7E-FB1F-9EAA-90A5-36F0004BA4D3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7" creationId="{2F523854-4E33-DF48-35CB-7BF6794D4AED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8" creationId="{7630861E-6EB0-0A49-5D4B-7FDDB5E17DAA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59" creationId="{B1650874-73BD-7CDE-8B5E-25CC98469081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60" creationId="{C773CBE9-9F40-2479-3FF5-3F86BD73BBC3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61" creationId="{0A7C6ABE-0FEA-E4AF-E49D-D0499100C248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62" creationId="{569BE62D-5B88-A9EA-7422-65C916C6F179}"/>
          </ac:spMkLst>
        </pc:spChg>
        <pc:spChg chg="mod topLvl replST delST">
          <ac:chgData name="Tobias Brammer" userId="80a1e1bd-3b82-47a5-b259-da62a397db92" providerId="ADAL" clId="{008C3F84-4C29-4233-992B-2D26DEA7756B}" dt="2023-11-21T07:45:01.539" v="1511"/>
          <ac:spMkLst>
            <pc:docMk/>
            <pc:sldMk cId="236324760" sldId="353"/>
            <ac:spMk id="63" creationId="{425DB4FE-6D5E-FD60-EA07-77234AA2AD74}"/>
          </ac:spMkLst>
        </pc:spChg>
        <pc:spChg chg="add del mod">
          <ac:chgData name="Tobias Brammer" userId="80a1e1bd-3b82-47a5-b259-da62a397db92" providerId="ADAL" clId="{008C3F84-4C29-4233-992B-2D26DEA7756B}" dt="2023-11-21T07:45:25.512" v="1523"/>
          <ac:spMkLst>
            <pc:docMk/>
            <pc:sldMk cId="236324760" sldId="353"/>
            <ac:spMk id="65" creationId="{2690EBFF-3929-4815-1A63-9311F86E0A05}"/>
          </ac:spMkLst>
        </pc:spChg>
        <pc:spChg chg="add mod">
          <ac:chgData name="Tobias Brammer" userId="80a1e1bd-3b82-47a5-b259-da62a397db92" providerId="ADAL" clId="{008C3F84-4C29-4233-992B-2D26DEA7756B}" dt="2023-11-22T12:10:40.809" v="22375" actId="164"/>
          <ac:spMkLst>
            <pc:docMk/>
            <pc:sldMk cId="236324760" sldId="353"/>
            <ac:spMk id="66" creationId="{DFD66FED-E94F-1077-8FDD-14696035ECE6}"/>
          </ac:spMkLst>
        </pc:spChg>
        <pc:grpChg chg="add mod">
          <ac:chgData name="Tobias Brammer" userId="80a1e1bd-3b82-47a5-b259-da62a397db92" providerId="ADAL" clId="{008C3F84-4C29-4233-992B-2D26DEA7756B}" dt="2023-11-22T12:11:47.279" v="22403" actId="1076"/>
          <ac:grpSpMkLst>
            <pc:docMk/>
            <pc:sldMk cId="236324760" sldId="353"/>
            <ac:grpSpMk id="3" creationId="{D6DBF3DE-D4D2-6CD1-9821-7427C5EF6AD6}"/>
          </ac:grpSpMkLst>
        </pc:grpChg>
        <pc:grpChg chg="add del mod">
          <ac:chgData name="Tobias Brammer" userId="80a1e1bd-3b82-47a5-b259-da62a397db92" providerId="ADAL" clId="{008C3F84-4C29-4233-992B-2D26DEA7756B}" dt="2023-12-08T07:08:12.126" v="27240" actId="478"/>
          <ac:grpSpMkLst>
            <pc:docMk/>
            <pc:sldMk cId="236324760" sldId="353"/>
            <ac:grpSpMk id="6" creationId="{A46579E0-F4DF-5909-2DE0-25D8CBD791D3}"/>
          </ac:grpSpMkLst>
        </pc:grpChg>
        <pc:grpChg chg="add del mod">
          <ac:chgData name="Tobias Brammer" userId="80a1e1bd-3b82-47a5-b259-da62a397db92" providerId="ADAL" clId="{008C3F84-4C29-4233-992B-2D26DEA7756B}" dt="2023-11-21T07:45:01.539" v="1511"/>
          <ac:grpSpMkLst>
            <pc:docMk/>
            <pc:sldMk cId="236324760" sldId="353"/>
            <ac:grpSpMk id="7" creationId="{D4AE32C1-9ED3-912C-DA17-04BFB5C795A5}"/>
          </ac:grpSpMkLst>
        </pc:grpChg>
        <pc:grpChg chg="add del mod topLvl">
          <ac:chgData name="Tobias Brammer" userId="80a1e1bd-3b82-47a5-b259-da62a397db92" providerId="ADAL" clId="{008C3F84-4C29-4233-992B-2D26DEA7756B}" dt="2023-11-21T07:45:01.539" v="1511"/>
          <ac:grpSpMkLst>
            <pc:docMk/>
            <pc:sldMk cId="236324760" sldId="353"/>
            <ac:grpSpMk id="8" creationId="{37D972C1-0BBA-5F64-56E3-A9D4E83B761F}"/>
          </ac:grpSpMkLst>
        </pc:grpChg>
        <pc:grpChg chg="add mod ord replST delST">
          <ac:chgData name="Tobias Brammer" userId="80a1e1bd-3b82-47a5-b259-da62a397db92" providerId="ADAL" clId="{008C3F84-4C29-4233-992B-2D26DEA7756B}" dt="2023-11-21T07:45:01.539" v="1511"/>
          <ac:grpSpMkLst>
            <pc:docMk/>
            <pc:sldMk cId="236324760" sldId="353"/>
            <ac:grpSpMk id="64" creationId="{C87B7B02-4F59-740F-3600-9E46C9B01F42}"/>
          </ac:grpSpMkLst>
        </pc:grpChg>
        <pc:graphicFrameChg chg="mod">
          <ac:chgData name="Tobias Brammer" userId="80a1e1bd-3b82-47a5-b259-da62a397db92" providerId="ADAL" clId="{008C3F84-4C29-4233-992B-2D26DEA7756B}" dt="2023-11-22T12:41:15.050" v="23989"/>
          <ac:graphicFrameMkLst>
            <pc:docMk/>
            <pc:sldMk cId="236324760" sldId="353"/>
            <ac:graphicFrameMk id="4" creationId="{79C05AFC-9555-D40C-AD9D-3E13BD0A4FC2}"/>
          </ac:graphicFrameMkLst>
        </pc:graphicFrameChg>
        <pc:picChg chg="add del mod">
          <ac:chgData name="Tobias Brammer" userId="80a1e1bd-3b82-47a5-b259-da62a397db92" providerId="ADAL" clId="{008C3F84-4C29-4233-992B-2D26DEA7756B}" dt="2023-11-22T12:10:40.809" v="22375" actId="164"/>
          <ac:picMkLst>
            <pc:docMk/>
            <pc:sldMk cId="236324760" sldId="353"/>
            <ac:picMk id="2" creationId="{E7931504-6F19-A673-A4F1-78E07F1358A8}"/>
          </ac:picMkLst>
        </pc:picChg>
        <pc:picChg chg="add del mod">
          <ac:chgData name="Tobias Brammer" userId="80a1e1bd-3b82-47a5-b259-da62a397db92" providerId="ADAL" clId="{008C3F84-4C29-4233-992B-2D26DEA7756B}" dt="2023-11-21T07:45:04.508" v="1519"/>
          <ac:picMkLst>
            <pc:docMk/>
            <pc:sldMk cId="236324760" sldId="353"/>
            <ac:picMk id="6" creationId="{6EF4D669-040A-6F89-6B34-3C3C653FF370}"/>
          </ac:picMkLst>
        </pc:picChg>
        <pc:picChg chg="mod">
          <ac:chgData name="Tobias Brammer" userId="80a1e1bd-3b82-47a5-b259-da62a397db92" providerId="ADAL" clId="{008C3F84-4C29-4233-992B-2D26DEA7756B}" dt="2023-11-22T12:11:28.035" v="22399"/>
          <ac:picMkLst>
            <pc:docMk/>
            <pc:sldMk cId="236324760" sldId="353"/>
            <ac:picMk id="7" creationId="{4DC2530E-2A9F-8589-B1A6-80A85DBEE961}"/>
          </ac:picMkLst>
        </pc:picChg>
        <pc:picChg chg="mod">
          <ac:chgData name="Tobias Brammer" userId="80a1e1bd-3b82-47a5-b259-da62a397db92" providerId="ADAL" clId="{008C3F84-4C29-4233-992B-2D26DEA7756B}" dt="2023-12-08T07:01:18.648" v="27146" actId="1035"/>
          <ac:picMkLst>
            <pc:docMk/>
            <pc:sldMk cId="236324760" sldId="353"/>
            <ac:picMk id="9" creationId="{0F345685-9460-E07A-59BB-0DD576793740}"/>
          </ac:picMkLst>
        </pc:picChg>
        <pc:picChg chg="del">
          <ac:chgData name="Tobias Brammer" userId="80a1e1bd-3b82-47a5-b259-da62a397db92" providerId="ADAL" clId="{008C3F84-4C29-4233-992B-2D26DEA7756B}" dt="2023-11-21T07:44:10.857" v="1091" actId="478"/>
          <ac:picMkLst>
            <pc:docMk/>
            <pc:sldMk cId="236324760" sldId="353"/>
            <ac:picMk id="12" creationId="{47664333-D894-5056-83A2-6BDBEC61091C}"/>
          </ac:picMkLst>
        </pc:picChg>
      </pc:sldChg>
      <pc:sldChg chg="addSp delSp modSp add del mod">
        <pc:chgData name="Tobias Brammer" userId="80a1e1bd-3b82-47a5-b259-da62a397db92" providerId="ADAL" clId="{008C3F84-4C29-4233-992B-2D26DEA7756B}" dt="2023-11-22T12:12:10.791" v="22404" actId="47"/>
        <pc:sldMkLst>
          <pc:docMk/>
          <pc:sldMk cId="1664088353" sldId="354"/>
        </pc:sldMkLst>
        <pc:spChg chg="add mod">
          <ac:chgData name="Tobias Brammer" userId="80a1e1bd-3b82-47a5-b259-da62a397db92" providerId="ADAL" clId="{008C3F84-4C29-4233-992B-2D26DEA7756B}" dt="2023-11-22T12:11:22.698" v="22398" actId="164"/>
          <ac:spMkLst>
            <pc:docMk/>
            <pc:sldMk cId="1664088353" sldId="354"/>
            <ac:spMk id="6" creationId="{DBC175E1-CAC5-9F96-B54C-DE5DC9D975AA}"/>
          </ac:spMkLst>
        </pc:spChg>
        <pc:spChg chg="add del">
          <ac:chgData name="Tobias Brammer" userId="80a1e1bd-3b82-47a5-b259-da62a397db92" providerId="ADAL" clId="{008C3F84-4C29-4233-992B-2D26DEA7756B}" dt="2023-11-21T07:49:27.375" v="1618" actId="478"/>
          <ac:spMkLst>
            <pc:docMk/>
            <pc:sldMk cId="1664088353" sldId="354"/>
            <ac:spMk id="66" creationId="{DFD66FED-E94F-1077-8FDD-14696035ECE6}"/>
          </ac:spMkLst>
        </pc:spChg>
        <pc:grpChg chg="add mod">
          <ac:chgData name="Tobias Brammer" userId="80a1e1bd-3b82-47a5-b259-da62a397db92" providerId="ADAL" clId="{008C3F84-4C29-4233-992B-2D26DEA7756B}" dt="2023-11-22T12:11:22.698" v="22398" actId="164"/>
          <ac:grpSpMkLst>
            <pc:docMk/>
            <pc:sldMk cId="1664088353" sldId="354"/>
            <ac:grpSpMk id="2" creationId="{15080A79-3F49-623A-32AA-C8270E5839D2}"/>
          </ac:grpSpMkLst>
        </pc:grpChg>
        <pc:picChg chg="add del mod modCrop">
          <ac:chgData name="Tobias Brammer" userId="80a1e1bd-3b82-47a5-b259-da62a397db92" providerId="ADAL" clId="{008C3F84-4C29-4233-992B-2D26DEA7756B}" dt="2023-11-21T07:49:23.969" v="1617" actId="478"/>
          <ac:picMkLst>
            <pc:docMk/>
            <pc:sldMk cId="1664088353" sldId="354"/>
            <ac:picMk id="2" creationId="{E7931504-6F19-A673-A4F1-78E07F1358A8}"/>
          </ac:picMkLst>
        </pc:picChg>
        <pc:picChg chg="add mod">
          <ac:chgData name="Tobias Brammer" userId="80a1e1bd-3b82-47a5-b259-da62a397db92" providerId="ADAL" clId="{008C3F84-4C29-4233-992B-2D26DEA7756B}" dt="2023-11-22T12:11:22.698" v="22398" actId="164"/>
          <ac:picMkLst>
            <pc:docMk/>
            <pc:sldMk cId="1664088353" sldId="354"/>
            <ac:picMk id="3" creationId="{E2140EE9-63A9-D47F-489B-3B1D5713121C}"/>
          </ac:picMkLst>
        </pc:picChg>
      </pc:sldChg>
      <pc:sldChg chg="modSp add mod ord">
        <pc:chgData name="Tobias Brammer" userId="80a1e1bd-3b82-47a5-b259-da62a397db92" providerId="ADAL" clId="{008C3F84-4C29-4233-992B-2D26DEA7756B}" dt="2023-12-08T07:07:13.265" v="27234" actId="12"/>
        <pc:sldMkLst>
          <pc:docMk/>
          <pc:sldMk cId="431596050" sldId="355"/>
        </pc:sldMkLst>
        <pc:spChg chg="mod">
          <ac:chgData name="Tobias Brammer" userId="80a1e1bd-3b82-47a5-b259-da62a397db92" providerId="ADAL" clId="{008C3F84-4C29-4233-992B-2D26DEA7756B}" dt="2023-11-22T12:42:36.793" v="24008" actId="948"/>
          <ac:spMkLst>
            <pc:docMk/>
            <pc:sldMk cId="431596050" sldId="355"/>
            <ac:spMk id="2" creationId="{F7A7B11F-5560-4450-B29C-AA36EE47DBD5}"/>
          </ac:spMkLst>
        </pc:spChg>
        <pc:spChg chg="mod">
          <ac:chgData name="Tobias Brammer" userId="80a1e1bd-3b82-47a5-b259-da62a397db92" providerId="ADAL" clId="{008C3F84-4C29-4233-992B-2D26DEA7756B}" dt="2023-12-08T07:07:13.265" v="27234" actId="12"/>
          <ac:spMkLst>
            <pc:docMk/>
            <pc:sldMk cId="431596050" sldId="355"/>
            <ac:spMk id="8" creationId="{9974A259-DC86-27AE-073B-E1B517848965}"/>
          </ac:spMkLst>
        </pc:spChg>
        <pc:graphicFrameChg chg="mod">
          <ac:chgData name="Tobias Brammer" userId="80a1e1bd-3b82-47a5-b259-da62a397db92" providerId="ADAL" clId="{008C3F84-4C29-4233-992B-2D26DEA7756B}" dt="2023-11-22T12:42:36.793" v="24012"/>
          <ac:graphicFrameMkLst>
            <pc:docMk/>
            <pc:sldMk cId="431596050" sldId="355"/>
            <ac:graphicFrameMk id="4" creationId="{79C05AFC-9555-D40C-AD9D-3E13BD0A4FC2}"/>
          </ac:graphicFrameMkLst>
        </pc:graphicFrameChg>
        <pc:picChg chg="mod">
          <ac:chgData name="Tobias Brammer" userId="80a1e1bd-3b82-47a5-b259-da62a397db92" providerId="ADAL" clId="{008C3F84-4C29-4233-992B-2D26DEA7756B}" dt="2023-11-21T07:52:04.324" v="1708" actId="14826"/>
          <ac:picMkLst>
            <pc:docMk/>
            <pc:sldMk cId="431596050" sldId="355"/>
            <ac:picMk id="12" creationId="{BC45735F-E063-4678-D02A-CBB56F461006}"/>
          </ac:picMkLst>
        </pc:picChg>
      </pc:sldChg>
      <pc:sldChg chg="add del">
        <pc:chgData name="Tobias Brammer" userId="80a1e1bd-3b82-47a5-b259-da62a397db92" providerId="ADAL" clId="{008C3F84-4C29-4233-992B-2D26DEA7756B}" dt="2023-11-21T07:49:00.632" v="1612"/>
        <pc:sldMkLst>
          <pc:docMk/>
          <pc:sldMk cId="2668679006" sldId="355"/>
        </pc:sldMkLst>
      </pc:sldChg>
      <pc:sldChg chg="addSp delSp modSp add mod ord">
        <pc:chgData name="Tobias Brammer" userId="80a1e1bd-3b82-47a5-b259-da62a397db92" providerId="ADAL" clId="{008C3F84-4C29-4233-992B-2D26DEA7756B}" dt="2023-12-08T07:07:16.326" v="27235" actId="12"/>
        <pc:sldMkLst>
          <pc:docMk/>
          <pc:sldMk cId="1813874649" sldId="356"/>
        </pc:sldMkLst>
        <pc:spChg chg="mod">
          <ac:chgData name="Tobias Brammer" userId="80a1e1bd-3b82-47a5-b259-da62a397db92" providerId="ADAL" clId="{008C3F84-4C29-4233-992B-2D26DEA7756B}" dt="2023-11-22T12:42:41.868" v="24020" actId="948"/>
          <ac:spMkLst>
            <pc:docMk/>
            <pc:sldMk cId="1813874649" sldId="356"/>
            <ac:spMk id="2" creationId="{F7A7B11F-5560-4450-B29C-AA36EE47DBD5}"/>
          </ac:spMkLst>
        </pc:spChg>
        <pc:spChg chg="add del">
          <ac:chgData name="Tobias Brammer" userId="80a1e1bd-3b82-47a5-b259-da62a397db92" providerId="ADAL" clId="{008C3F84-4C29-4233-992B-2D26DEA7756B}" dt="2023-11-22T13:18:43.198" v="25610" actId="22"/>
          <ac:spMkLst>
            <pc:docMk/>
            <pc:sldMk cId="1813874649" sldId="356"/>
            <ac:spMk id="5" creationId="{EDAACB00-CE72-732D-FF8B-5B60DB0B082B}"/>
          </ac:spMkLst>
        </pc:spChg>
        <pc:spChg chg="mod">
          <ac:chgData name="Tobias Brammer" userId="80a1e1bd-3b82-47a5-b259-da62a397db92" providerId="ADAL" clId="{008C3F84-4C29-4233-992B-2D26DEA7756B}" dt="2023-12-08T07:07:16.326" v="27235" actId="12"/>
          <ac:spMkLst>
            <pc:docMk/>
            <pc:sldMk cId="1813874649" sldId="356"/>
            <ac:spMk id="8" creationId="{9974A259-DC86-27AE-073B-E1B517848965}"/>
          </ac:spMkLst>
        </pc:spChg>
        <pc:graphicFrameChg chg="mod">
          <ac:chgData name="Tobias Brammer" userId="80a1e1bd-3b82-47a5-b259-da62a397db92" providerId="ADAL" clId="{008C3F84-4C29-4233-992B-2D26DEA7756B}" dt="2023-11-22T12:42:41.883" v="24024"/>
          <ac:graphicFrameMkLst>
            <pc:docMk/>
            <pc:sldMk cId="1813874649" sldId="356"/>
            <ac:graphicFrameMk id="4" creationId="{79C05AFC-9555-D40C-AD9D-3E13BD0A4FC2}"/>
          </ac:graphicFrameMkLst>
        </pc:graphicFrameChg>
        <pc:picChg chg="mod">
          <ac:chgData name="Tobias Brammer" userId="80a1e1bd-3b82-47a5-b259-da62a397db92" providerId="ADAL" clId="{008C3F84-4C29-4233-992B-2D26DEA7756B}" dt="2023-11-21T07:56:29.196" v="2343" actId="14826"/>
          <ac:picMkLst>
            <pc:docMk/>
            <pc:sldMk cId="1813874649" sldId="356"/>
            <ac:picMk id="12" creationId="{BC45735F-E063-4678-D02A-CBB56F461006}"/>
          </ac:picMkLst>
        </pc:picChg>
      </pc:sldChg>
      <pc:sldChg chg="modSp add del mod">
        <pc:chgData name="Tobias Brammer" userId="80a1e1bd-3b82-47a5-b259-da62a397db92" providerId="ADAL" clId="{008C3F84-4C29-4233-992B-2D26DEA7756B}" dt="2023-11-22T12:40:57.234" v="23917" actId="47"/>
        <pc:sldMkLst>
          <pc:docMk/>
          <pc:sldMk cId="1375076133" sldId="357"/>
        </pc:sldMkLst>
        <pc:spChg chg="mod">
          <ac:chgData name="Tobias Brammer" userId="80a1e1bd-3b82-47a5-b259-da62a397db92" providerId="ADAL" clId="{008C3F84-4C29-4233-992B-2D26DEA7756B}" dt="2023-11-22T12:18:50.353" v="22857" actId="14100"/>
          <ac:spMkLst>
            <pc:docMk/>
            <pc:sldMk cId="1375076133" sldId="357"/>
            <ac:spMk id="10" creationId="{6123F9E9-4EDA-8639-0B90-4D3A855C3D7A}"/>
          </ac:spMkLst>
        </pc:spChg>
      </pc:sldChg>
      <pc:sldChg chg="modSp add del mod ord modTransition modShow modNotesTx">
        <pc:chgData name="Tobias Brammer" userId="80a1e1bd-3b82-47a5-b259-da62a397db92" providerId="ADAL" clId="{008C3F84-4C29-4233-992B-2D26DEA7756B}" dt="2023-11-21T08:19:45.613" v="3546" actId="2696"/>
        <pc:sldMkLst>
          <pc:docMk/>
          <pc:sldMk cId="2594265484" sldId="357"/>
        </pc:sldMkLst>
        <pc:spChg chg="mod">
          <ac:chgData name="Tobias Brammer" userId="80a1e1bd-3b82-47a5-b259-da62a397db92" providerId="ADAL" clId="{008C3F84-4C29-4233-992B-2D26DEA7756B}" dt="2023-11-21T08:04:23.404" v="3253" actId="948"/>
          <ac:spMkLst>
            <pc:docMk/>
            <pc:sldMk cId="2594265484" sldId="357"/>
            <ac:spMk id="2" creationId="{F7A7B11F-5560-4450-B29C-AA36EE47DBD5}"/>
          </ac:spMkLst>
        </pc:spChg>
        <pc:spChg chg="mod">
          <ac:chgData name="Tobias Brammer" userId="80a1e1bd-3b82-47a5-b259-da62a397db92" providerId="ADAL" clId="{008C3F84-4C29-4233-992B-2D26DEA7756B}" dt="2023-11-21T08:08:20.774" v="3311" actId="404"/>
          <ac:spMkLst>
            <pc:docMk/>
            <pc:sldMk cId="2594265484" sldId="357"/>
            <ac:spMk id="10" creationId="{6123F9E9-4EDA-8639-0B90-4D3A855C3D7A}"/>
          </ac:spMkLst>
        </pc:spChg>
        <pc:graphicFrameChg chg="mod">
          <ac:chgData name="Tobias Brammer" userId="80a1e1bd-3b82-47a5-b259-da62a397db92" providerId="ADAL" clId="{008C3F84-4C29-4233-992B-2D26DEA7756B}" dt="2023-11-21T08:04:23.409" v="3257"/>
          <ac:graphicFrameMkLst>
            <pc:docMk/>
            <pc:sldMk cId="2594265484" sldId="357"/>
            <ac:graphicFrameMk id="4" creationId="{79C05AFC-9555-D40C-AD9D-3E13BD0A4FC2}"/>
          </ac:graphicFrameMkLst>
        </pc:graphicFrameChg>
      </pc:sldChg>
      <pc:sldChg chg="addSp delSp modSp add mod modTransition modShow modNotesTx">
        <pc:chgData name="Tobias Brammer" userId="80a1e1bd-3b82-47a5-b259-da62a397db92" providerId="ADAL" clId="{008C3F84-4C29-4233-992B-2D26DEA7756B}" dt="2023-11-22T12:57:16.256" v="25498" actId="14100"/>
        <pc:sldMkLst>
          <pc:docMk/>
          <pc:sldMk cId="1846737171" sldId="358"/>
        </pc:sldMkLst>
        <pc:spChg chg="mod">
          <ac:chgData name="Tobias Brammer" userId="80a1e1bd-3b82-47a5-b259-da62a397db92" providerId="ADAL" clId="{008C3F84-4C29-4233-992B-2D26DEA7756B}" dt="2023-11-22T10:03:37.499" v="22330" actId="948"/>
          <ac:spMkLst>
            <pc:docMk/>
            <pc:sldMk cId="1846737171" sldId="358"/>
            <ac:spMk id="2" creationId="{F7A7B11F-5560-4450-B29C-AA36EE47DBD5}"/>
          </ac:spMkLst>
        </pc:spChg>
        <pc:spChg chg="add del mod">
          <ac:chgData name="Tobias Brammer" userId="80a1e1bd-3b82-47a5-b259-da62a397db92" providerId="ADAL" clId="{008C3F84-4C29-4233-992B-2D26DEA7756B}" dt="2023-11-22T09:50:07.945" v="21982" actId="1032"/>
          <ac:spMkLst>
            <pc:docMk/>
            <pc:sldMk cId="1846737171" sldId="358"/>
            <ac:spMk id="5" creationId="{5948C6F9-72A1-613A-11F3-E84AADEAC612}"/>
          </ac:spMkLst>
        </pc:spChg>
        <pc:spChg chg="add del">
          <ac:chgData name="Tobias Brammer" userId="80a1e1bd-3b82-47a5-b259-da62a397db92" providerId="ADAL" clId="{008C3F84-4C29-4233-992B-2D26DEA7756B}" dt="2023-11-22T09:58:03.705" v="22238" actId="22"/>
          <ac:spMkLst>
            <pc:docMk/>
            <pc:sldMk cId="1846737171" sldId="358"/>
            <ac:spMk id="8" creationId="{6907A2CA-27F4-12D6-0C20-8E19F84AC1AA}"/>
          </ac:spMkLst>
        </pc:spChg>
        <pc:spChg chg="del mod">
          <ac:chgData name="Tobias Brammer" userId="80a1e1bd-3b82-47a5-b259-da62a397db92" providerId="ADAL" clId="{008C3F84-4C29-4233-992B-2D26DEA7756B}" dt="2023-11-22T09:49:52.650" v="21981" actId="478"/>
          <ac:spMkLst>
            <pc:docMk/>
            <pc:sldMk cId="1846737171" sldId="358"/>
            <ac:spMk id="10" creationId="{6123F9E9-4EDA-8639-0B90-4D3A855C3D7A}"/>
          </ac:spMkLst>
        </pc:spChg>
        <pc:graphicFrameChg chg="mod">
          <ac:chgData name="Tobias Brammer" userId="80a1e1bd-3b82-47a5-b259-da62a397db92" providerId="ADAL" clId="{008C3F84-4C29-4233-992B-2D26DEA7756B}" dt="2023-11-22T10:03:37.499" v="22334"/>
          <ac:graphicFrameMkLst>
            <pc:docMk/>
            <pc:sldMk cId="1846737171" sldId="358"/>
            <ac:graphicFrameMk id="4" creationId="{79C05AFC-9555-D40C-AD9D-3E13BD0A4FC2}"/>
          </ac:graphicFrameMkLst>
        </pc:graphicFrameChg>
        <pc:graphicFrameChg chg="add mod modGraphic">
          <ac:chgData name="Tobias Brammer" userId="80a1e1bd-3b82-47a5-b259-da62a397db92" providerId="ADAL" clId="{008C3F84-4C29-4233-992B-2D26DEA7756B}" dt="2023-11-22T12:57:16.256" v="25498" actId="14100"/>
          <ac:graphicFrameMkLst>
            <pc:docMk/>
            <pc:sldMk cId="1846737171" sldId="358"/>
            <ac:graphicFrameMk id="6" creationId="{59551955-6298-1942-C3C9-BBFAA7A920D6}"/>
          </ac:graphicFrameMkLst>
        </pc:graphicFrameChg>
      </pc:sldChg>
      <pc:sldChg chg="delSp add del mod">
        <pc:chgData name="Tobias Brammer" userId="80a1e1bd-3b82-47a5-b259-da62a397db92" providerId="ADAL" clId="{008C3F84-4C29-4233-992B-2D26DEA7756B}" dt="2023-11-21T08:18:17.738" v="3502" actId="47"/>
        <pc:sldMkLst>
          <pc:docMk/>
          <pc:sldMk cId="3294233305" sldId="359"/>
        </pc:sldMkLst>
        <pc:grpChg chg="del">
          <ac:chgData name="Tobias Brammer" userId="80a1e1bd-3b82-47a5-b259-da62a397db92" providerId="ADAL" clId="{008C3F84-4C29-4233-992B-2D26DEA7756B}" dt="2023-11-21T08:10:20.024" v="3316" actId="478"/>
          <ac:grpSpMkLst>
            <pc:docMk/>
            <pc:sldMk cId="3294233305" sldId="359"/>
            <ac:grpSpMk id="25" creationId="{A2C2722A-AD85-3EE8-5CAB-992F35AC1BCE}"/>
          </ac:grpSpMkLst>
        </pc:grpChg>
        <pc:grpChg chg="del">
          <ac:chgData name="Tobias Brammer" userId="80a1e1bd-3b82-47a5-b259-da62a397db92" providerId="ADAL" clId="{008C3F84-4C29-4233-992B-2D26DEA7756B}" dt="2023-11-21T08:10:18.184" v="3315" actId="478"/>
          <ac:grpSpMkLst>
            <pc:docMk/>
            <pc:sldMk cId="3294233305" sldId="359"/>
            <ac:grpSpMk id="26" creationId="{BBAB5653-01E6-4085-DCDC-F243ACBDB042}"/>
          </ac:grpSpMkLst>
        </pc:grpChg>
      </pc:sldChg>
      <pc:sldChg chg="addSp delSp modSp add mod ord modTransition modShow">
        <pc:chgData name="Tobias Brammer" userId="80a1e1bd-3b82-47a5-b259-da62a397db92" providerId="ADAL" clId="{008C3F84-4C29-4233-992B-2D26DEA7756B}" dt="2023-11-22T12:56:53.943" v="25495"/>
        <pc:sldMkLst>
          <pc:docMk/>
          <pc:sldMk cId="3353554596" sldId="360"/>
        </pc:sldMkLst>
        <pc:spChg chg="mod">
          <ac:chgData name="Tobias Brammer" userId="80a1e1bd-3b82-47a5-b259-da62a397db92" providerId="ADAL" clId="{008C3F84-4C29-4233-992B-2D26DEA7756B}" dt="2023-11-21T08:10:43.034" v="3354" actId="948"/>
          <ac:spMkLst>
            <pc:docMk/>
            <pc:sldMk cId="3353554596" sldId="360"/>
            <ac:spMk id="2" creationId="{F7A7B11F-5560-4450-B29C-AA36EE47DBD5}"/>
          </ac:spMkLst>
        </pc:spChg>
        <pc:spChg chg="add del mod">
          <ac:chgData name="Tobias Brammer" userId="80a1e1bd-3b82-47a5-b259-da62a397db92" providerId="ADAL" clId="{008C3F84-4C29-4233-992B-2D26DEA7756B}" dt="2023-11-21T08:10:37.336" v="3321" actId="478"/>
          <ac:spMkLst>
            <pc:docMk/>
            <pc:sldMk cId="3353554596" sldId="360"/>
            <ac:spMk id="3" creationId="{D3CA102B-5167-0A91-A890-5E4381DCA57F}"/>
          </ac:spMkLst>
        </pc:spChg>
        <pc:spChg chg="mod">
          <ac:chgData name="Tobias Brammer" userId="80a1e1bd-3b82-47a5-b259-da62a397db92" providerId="ADAL" clId="{008C3F84-4C29-4233-992B-2D26DEA7756B}" dt="2023-11-21T08:16:05.262" v="3481" actId="15"/>
          <ac:spMkLst>
            <pc:docMk/>
            <pc:sldMk cId="3353554596" sldId="360"/>
            <ac:spMk id="10" creationId="{6123F9E9-4EDA-8639-0B90-4D3A855C3D7A}"/>
          </ac:spMkLst>
        </pc:spChg>
        <pc:graphicFrameChg chg="mod">
          <ac:chgData name="Tobias Brammer" userId="80a1e1bd-3b82-47a5-b259-da62a397db92" providerId="ADAL" clId="{008C3F84-4C29-4233-992B-2D26DEA7756B}" dt="2023-11-21T08:10:43.037" v="3358"/>
          <ac:graphicFrameMkLst>
            <pc:docMk/>
            <pc:sldMk cId="3353554596" sldId="360"/>
            <ac:graphicFrameMk id="4" creationId="{79C05AFC-9555-D40C-AD9D-3E13BD0A4FC2}"/>
          </ac:graphicFrameMkLst>
        </pc:graphicFrameChg>
      </pc:sldChg>
      <pc:sldChg chg="modSp add mod modTransition modShow">
        <pc:chgData name="Tobias Brammer" userId="80a1e1bd-3b82-47a5-b259-da62a397db92" providerId="ADAL" clId="{008C3F84-4C29-4233-992B-2D26DEA7756B}" dt="2023-11-22T12:56:53.943" v="25495"/>
        <pc:sldMkLst>
          <pc:docMk/>
          <pc:sldMk cId="102364765" sldId="361"/>
        </pc:sldMkLst>
        <pc:spChg chg="mod">
          <ac:chgData name="Tobias Brammer" userId="80a1e1bd-3b82-47a5-b259-da62a397db92" providerId="ADAL" clId="{008C3F84-4C29-4233-992B-2D26DEA7756B}" dt="2023-11-21T08:16:43.734" v="3495" actId="20577"/>
          <ac:spMkLst>
            <pc:docMk/>
            <pc:sldMk cId="102364765" sldId="361"/>
            <ac:spMk id="10" creationId="{6123F9E9-4EDA-8639-0B90-4D3A855C3D7A}"/>
          </ac:spMkLst>
        </pc:spChg>
      </pc:sldChg>
      <pc:sldChg chg="addSp delSp modSp add del mod">
        <pc:chgData name="Tobias Brammer" userId="80a1e1bd-3b82-47a5-b259-da62a397db92" providerId="ADAL" clId="{008C3F84-4C29-4233-992B-2D26DEA7756B}" dt="2023-11-21T08:46:26.453" v="16257" actId="47"/>
        <pc:sldMkLst>
          <pc:docMk/>
          <pc:sldMk cId="1615006347" sldId="362"/>
        </pc:sldMkLst>
        <pc:spChg chg="mod ord">
          <ac:chgData name="Tobias Brammer" userId="80a1e1bd-3b82-47a5-b259-da62a397db92" providerId="ADAL" clId="{008C3F84-4C29-4233-992B-2D26DEA7756B}" dt="2023-11-21T08:46:08.411" v="16252" actId="948"/>
          <ac:spMkLst>
            <pc:docMk/>
            <pc:sldMk cId="1615006347" sldId="362"/>
            <ac:spMk id="2" creationId="{F7A7B11F-5560-4450-B29C-AA36EE47DBD5}"/>
          </ac:spMkLst>
        </pc:spChg>
        <pc:spChg chg="add del mod">
          <ac:chgData name="Tobias Brammer" userId="80a1e1bd-3b82-47a5-b259-da62a397db92" providerId="ADAL" clId="{008C3F84-4C29-4233-992B-2D26DEA7756B}" dt="2023-11-21T08:30:11.235" v="4296"/>
          <ac:spMkLst>
            <pc:docMk/>
            <pc:sldMk cId="1615006347" sldId="362"/>
            <ac:spMk id="5" creationId="{AE5B1EF3-B184-ECD6-4397-E0B2A99CDE63}"/>
          </ac:spMkLst>
        </pc:spChg>
        <pc:spChg chg="mod ord">
          <ac:chgData name="Tobias Brammer" userId="80a1e1bd-3b82-47a5-b259-da62a397db92" providerId="ADAL" clId="{008C3F84-4C29-4233-992B-2D26DEA7756B}" dt="2023-11-21T08:43:11.115" v="16065"/>
          <ac:spMkLst>
            <pc:docMk/>
            <pc:sldMk cId="1615006347" sldId="362"/>
            <ac:spMk id="8" creationId="{9974A259-DC86-27AE-073B-E1B517848965}"/>
          </ac:spMkLst>
        </pc:spChg>
        <pc:spChg chg="add del mod">
          <ac:chgData name="Tobias Brammer" userId="80a1e1bd-3b82-47a5-b259-da62a397db92" providerId="ADAL" clId="{008C3F84-4C29-4233-992B-2D26DEA7756B}" dt="2023-11-21T08:31:09.455" v="4307"/>
          <ac:spMkLst>
            <pc:docMk/>
            <pc:sldMk cId="1615006347" sldId="362"/>
            <ac:spMk id="9" creationId="{43A6860C-3EC1-B7F6-3014-7D24E9B7A16A}"/>
          </ac:spMkLst>
        </pc:spChg>
        <pc:spChg chg="add mod or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17" creationId="{A343CCE7-413E-8D98-B665-7BE37D2CF00A}"/>
          </ac:spMkLst>
        </pc:spChg>
        <pc:spChg chg="add del mod modVis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18" creationId="{4DEE2B99-6D2F-35B0-5C05-630CA2E24076}"/>
          </ac:spMkLst>
        </pc:spChg>
        <pc:spChg chg="add mod or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19" creationId="{0F67D43E-DEE8-A2C7-BE1C-3526709BE8BD}"/>
          </ac:spMkLst>
        </pc:spChg>
        <pc:spChg chg="add mo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20" creationId="{77064BFA-7A82-3C37-9735-7D0FFE9D1FDD}"/>
          </ac:spMkLst>
        </pc:spChg>
        <pc:spChg chg="add mo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21" creationId="{22AB3298-ACAE-F91F-08A4-53C9EA91DBBE}"/>
          </ac:spMkLst>
        </pc:spChg>
        <pc:spChg chg="add mo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22" creationId="{D02EDFFC-35EA-2D01-55D1-0D1012F427CD}"/>
          </ac:spMkLst>
        </pc:spChg>
        <pc:spChg chg="add mod replST delST">
          <ac:chgData name="Tobias Brammer" userId="80a1e1bd-3b82-47a5-b259-da62a397db92" providerId="ADAL" clId="{008C3F84-4C29-4233-992B-2D26DEA7756B}" dt="2023-11-21T08:40:06.222" v="5284"/>
          <ac:spMkLst>
            <pc:docMk/>
            <pc:sldMk cId="1615006347" sldId="362"/>
            <ac:spMk id="23" creationId="{72FDBA41-2BBA-E88C-344C-333019BD5FE3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4" creationId="{CE12B368-9334-EF81-0101-7EFEBD157DAA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5" creationId="{EAED724C-DFFF-E6BC-3BA8-796DE3240705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6" creationId="{BE5B9EAF-81DC-36CF-07A9-B29DA113C341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7" creationId="{B0B94895-9C56-C30A-571A-AF3BB59F631C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8" creationId="{47A90AE0-94BC-00E4-037A-D11D0C571BFC}"/>
          </ac:spMkLst>
        </pc:spChg>
        <pc:spChg chg="add mod replST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29" creationId="{2835096E-7282-07FD-646F-A137A06ED209}"/>
          </ac:spMkLst>
        </pc:spChg>
        <pc:spChg chg="add del mod modVis">
          <ac:chgData name="Tobias Brammer" userId="80a1e1bd-3b82-47a5-b259-da62a397db92" providerId="ADAL" clId="{008C3F84-4C29-4233-992B-2D26DEA7756B}" dt="2023-11-21T08:40:05.638" v="5009"/>
          <ac:spMkLst>
            <pc:docMk/>
            <pc:sldMk cId="1615006347" sldId="362"/>
            <ac:spMk id="30" creationId="{FB3B2313-F68C-49B7-27C3-B7C1A511D8C7}"/>
          </ac:spMkLst>
        </pc:spChg>
        <pc:spChg chg="add del mod ord replST">
          <ac:chgData name="Tobias Brammer" userId="80a1e1bd-3b82-47a5-b259-da62a397db92" providerId="ADAL" clId="{008C3F84-4C29-4233-992B-2D26DEA7756B}" dt="2023-11-21T08:43:10.908" v="15764"/>
          <ac:spMkLst>
            <pc:docMk/>
            <pc:sldMk cId="1615006347" sldId="362"/>
            <ac:spMk id="31" creationId="{50B39C08-6B0F-C8C8-2D43-83117DC3A1C7}"/>
          </ac:spMkLst>
        </pc:spChg>
        <pc:spChg chg="add del mod modVis">
          <ac:chgData name="Tobias Brammer" userId="80a1e1bd-3b82-47a5-b259-da62a397db92" providerId="ADAL" clId="{008C3F84-4C29-4233-992B-2D26DEA7756B}" dt="2023-11-21T08:40:16.269" v="5663"/>
          <ac:spMkLst>
            <pc:docMk/>
            <pc:sldMk cId="1615006347" sldId="362"/>
            <ac:spMk id="32" creationId="{9465E111-97C1-06A1-EE7C-28881649CEE6}"/>
          </ac:spMkLst>
        </pc:spChg>
        <pc:spChg chg="add del mod ord replST">
          <ac:chgData name="Tobias Brammer" userId="80a1e1bd-3b82-47a5-b259-da62a397db92" providerId="ADAL" clId="{008C3F84-4C29-4233-992B-2D26DEA7756B}" dt="2023-11-21T08:43:05.112" v="13976"/>
          <ac:spMkLst>
            <pc:docMk/>
            <pc:sldMk cId="1615006347" sldId="362"/>
            <ac:spMk id="33" creationId="{57E136EF-CCBC-1D8B-4B4F-61F367A50C8F}"/>
          </ac:spMkLst>
        </pc:spChg>
        <pc:spChg chg="add del mod replST">
          <ac:chgData name="Tobias Brammer" userId="80a1e1bd-3b82-47a5-b259-da62a397db92" providerId="ADAL" clId="{008C3F84-4C29-4233-992B-2D26DEA7756B}" dt="2023-11-21T08:43:05.112" v="13978"/>
          <ac:spMkLst>
            <pc:docMk/>
            <pc:sldMk cId="1615006347" sldId="362"/>
            <ac:spMk id="34" creationId="{A00E15D9-4209-E7D0-CC1E-C227A374F930}"/>
          </ac:spMkLst>
        </pc:spChg>
        <pc:spChg chg="add del mod ord replST">
          <ac:chgData name="Tobias Brammer" userId="80a1e1bd-3b82-47a5-b259-da62a397db92" providerId="ADAL" clId="{008C3F84-4C29-4233-992B-2D26DEA7756B}" dt="2023-11-21T08:43:05.112" v="13977"/>
          <ac:spMkLst>
            <pc:docMk/>
            <pc:sldMk cId="1615006347" sldId="362"/>
            <ac:spMk id="35" creationId="{62B50151-1C6F-A494-8EA5-719BA5693B18}"/>
          </ac:spMkLst>
        </pc:spChg>
        <pc:spChg chg="add del mod replST">
          <ac:chgData name="Tobias Brammer" userId="80a1e1bd-3b82-47a5-b259-da62a397db92" providerId="ADAL" clId="{008C3F84-4C29-4233-992B-2D26DEA7756B}" dt="2023-11-21T08:43:05.114" v="13981"/>
          <ac:spMkLst>
            <pc:docMk/>
            <pc:sldMk cId="1615006347" sldId="362"/>
            <ac:spMk id="36" creationId="{607EB066-BEE5-8453-EEC0-5C6D87171515}"/>
          </ac:spMkLst>
        </pc:spChg>
        <pc:spChg chg="add del mod ord replST">
          <ac:chgData name="Tobias Brammer" userId="80a1e1bd-3b82-47a5-b259-da62a397db92" providerId="ADAL" clId="{008C3F84-4C29-4233-992B-2D26DEA7756B}" dt="2023-11-21T08:43:05.110" v="13973"/>
          <ac:spMkLst>
            <pc:docMk/>
            <pc:sldMk cId="1615006347" sldId="362"/>
            <ac:spMk id="37" creationId="{E174FC5E-DF2A-9F69-017E-D90769C908F0}"/>
          </ac:spMkLst>
        </pc:spChg>
        <pc:spChg chg="add del mod ord replST">
          <ac:chgData name="Tobias Brammer" userId="80a1e1bd-3b82-47a5-b259-da62a397db92" providerId="ADAL" clId="{008C3F84-4C29-4233-992B-2D26DEA7756B}" dt="2023-11-21T08:43:05.113" v="13980"/>
          <ac:spMkLst>
            <pc:docMk/>
            <pc:sldMk cId="1615006347" sldId="362"/>
            <ac:spMk id="38" creationId="{810FFE8A-A08F-3C66-5510-474C34F4088D}"/>
          </ac:spMkLst>
        </pc:spChg>
        <pc:spChg chg="add del mod ord replST">
          <ac:chgData name="Tobias Brammer" userId="80a1e1bd-3b82-47a5-b259-da62a397db92" providerId="ADAL" clId="{008C3F84-4C29-4233-992B-2D26DEA7756B}" dt="2023-11-21T08:43:05.111" v="13974"/>
          <ac:spMkLst>
            <pc:docMk/>
            <pc:sldMk cId="1615006347" sldId="362"/>
            <ac:spMk id="39" creationId="{8D96F309-FF47-473A-EDDE-DA2BAC75EE74}"/>
          </ac:spMkLst>
        </pc:spChg>
        <pc:spChg chg="add del mod ord replST">
          <ac:chgData name="Tobias Brammer" userId="80a1e1bd-3b82-47a5-b259-da62a397db92" providerId="ADAL" clId="{008C3F84-4C29-4233-992B-2D26DEA7756B}" dt="2023-11-21T08:43:05.119" v="13998"/>
          <ac:spMkLst>
            <pc:docMk/>
            <pc:sldMk cId="1615006347" sldId="362"/>
            <ac:spMk id="40" creationId="{AA3CE9B8-C35A-257F-5DA6-7F59889E4F66}"/>
          </ac:spMkLst>
        </pc:spChg>
        <pc:spChg chg="add del mod replST">
          <ac:chgData name="Tobias Brammer" userId="80a1e1bd-3b82-47a5-b259-da62a397db92" providerId="ADAL" clId="{008C3F84-4C29-4233-992B-2D26DEA7756B}" dt="2023-11-21T08:43:05.121" v="14004"/>
          <ac:spMkLst>
            <pc:docMk/>
            <pc:sldMk cId="1615006347" sldId="362"/>
            <ac:spMk id="41" creationId="{44AAD93A-E8E9-7182-D2AF-B06A598759C3}"/>
          </ac:spMkLst>
        </pc:spChg>
        <pc:spChg chg="add del mod ord replST">
          <ac:chgData name="Tobias Brammer" userId="80a1e1bd-3b82-47a5-b259-da62a397db92" providerId="ADAL" clId="{008C3F84-4C29-4233-992B-2D26DEA7756B}" dt="2023-11-21T08:43:05.118" v="13996"/>
          <ac:spMkLst>
            <pc:docMk/>
            <pc:sldMk cId="1615006347" sldId="362"/>
            <ac:spMk id="42" creationId="{851A9C4F-B68E-B68D-49F0-23CCEC17F083}"/>
          </ac:spMkLst>
        </pc:spChg>
        <pc:spChg chg="add del mod ord replST">
          <ac:chgData name="Tobias Brammer" userId="80a1e1bd-3b82-47a5-b259-da62a397db92" providerId="ADAL" clId="{008C3F84-4C29-4233-992B-2D26DEA7756B}" dt="2023-11-21T08:43:05.119" v="13999"/>
          <ac:spMkLst>
            <pc:docMk/>
            <pc:sldMk cId="1615006347" sldId="362"/>
            <ac:spMk id="43" creationId="{A3CC9679-E384-1861-F400-B99422421203}"/>
          </ac:spMkLst>
        </pc:spChg>
        <pc:spChg chg="add del mod replST">
          <ac:chgData name="Tobias Brammer" userId="80a1e1bd-3b82-47a5-b259-da62a397db92" providerId="ADAL" clId="{008C3F84-4C29-4233-992B-2D26DEA7756B}" dt="2023-11-21T08:43:05.118" v="13995"/>
          <ac:spMkLst>
            <pc:docMk/>
            <pc:sldMk cId="1615006347" sldId="362"/>
            <ac:spMk id="44" creationId="{058DC430-8303-006E-AA87-EC24E363A23D}"/>
          </ac:spMkLst>
        </pc:spChg>
        <pc:spChg chg="add del mod ord replST">
          <ac:chgData name="Tobias Brammer" userId="80a1e1bd-3b82-47a5-b259-da62a397db92" providerId="ADAL" clId="{008C3F84-4C29-4233-992B-2D26DEA7756B}" dt="2023-11-21T08:43:05.120" v="14001"/>
          <ac:spMkLst>
            <pc:docMk/>
            <pc:sldMk cId="1615006347" sldId="362"/>
            <ac:spMk id="45" creationId="{9E078A7F-682A-4551-B1C4-B1508366BA01}"/>
          </ac:spMkLst>
        </pc:spChg>
        <pc:spChg chg="add del mod ord replST">
          <ac:chgData name="Tobias Brammer" userId="80a1e1bd-3b82-47a5-b259-da62a397db92" providerId="ADAL" clId="{008C3F84-4C29-4233-992B-2D26DEA7756B}" dt="2023-11-21T08:43:05.122" v="14010"/>
          <ac:spMkLst>
            <pc:docMk/>
            <pc:sldMk cId="1615006347" sldId="362"/>
            <ac:spMk id="46" creationId="{5DA43C38-B035-1667-F10D-79295BC230A0}"/>
          </ac:spMkLst>
        </pc:spChg>
        <pc:spChg chg="add del mod replST">
          <ac:chgData name="Tobias Brammer" userId="80a1e1bd-3b82-47a5-b259-da62a397db92" providerId="ADAL" clId="{008C3F84-4C29-4233-992B-2D26DEA7756B}" dt="2023-11-21T08:43:05.117" v="13994"/>
          <ac:spMkLst>
            <pc:docMk/>
            <pc:sldMk cId="1615006347" sldId="362"/>
            <ac:spMk id="47" creationId="{493A3EA9-4978-991C-1F56-E737E68CA231}"/>
          </ac:spMkLst>
        </pc:spChg>
        <pc:spChg chg="add del mod ord replST">
          <ac:chgData name="Tobias Brammer" userId="80a1e1bd-3b82-47a5-b259-da62a397db92" providerId="ADAL" clId="{008C3F84-4C29-4233-992B-2D26DEA7756B}" dt="2023-11-21T08:43:05.118" v="13997"/>
          <ac:spMkLst>
            <pc:docMk/>
            <pc:sldMk cId="1615006347" sldId="362"/>
            <ac:spMk id="48" creationId="{F913F9BF-EC5C-AE63-6370-A69B025514F8}"/>
          </ac:spMkLst>
        </pc:spChg>
        <pc:spChg chg="add del mod ord replST">
          <ac:chgData name="Tobias Brammer" userId="80a1e1bd-3b82-47a5-b259-da62a397db92" providerId="ADAL" clId="{008C3F84-4C29-4233-992B-2D26DEA7756B}" dt="2023-11-21T08:43:05.120" v="14002"/>
          <ac:spMkLst>
            <pc:docMk/>
            <pc:sldMk cId="1615006347" sldId="362"/>
            <ac:spMk id="49" creationId="{E0FDF2D9-8548-EE9F-B11E-A7348F9C64E0}"/>
          </ac:spMkLst>
        </pc:spChg>
        <pc:spChg chg="add del mod replST">
          <ac:chgData name="Tobias Brammer" userId="80a1e1bd-3b82-47a5-b259-da62a397db92" providerId="ADAL" clId="{008C3F84-4C29-4233-992B-2D26DEA7756B}" dt="2023-11-21T08:43:05.122" v="14008"/>
          <ac:spMkLst>
            <pc:docMk/>
            <pc:sldMk cId="1615006347" sldId="362"/>
            <ac:spMk id="50" creationId="{2242C0E5-8C41-EF8C-4D0D-5FD69B2D3A37}"/>
          </ac:spMkLst>
        </pc:spChg>
        <pc:spChg chg="add del mod ord replST">
          <ac:chgData name="Tobias Brammer" userId="80a1e1bd-3b82-47a5-b259-da62a397db92" providerId="ADAL" clId="{008C3F84-4C29-4233-992B-2D26DEA7756B}" dt="2023-11-21T08:43:05.122" v="14009"/>
          <ac:spMkLst>
            <pc:docMk/>
            <pc:sldMk cId="1615006347" sldId="362"/>
            <ac:spMk id="51" creationId="{A6DF1936-283D-91D4-CD4D-87153093823C}"/>
          </ac:spMkLst>
        </pc:spChg>
        <pc:spChg chg="add del mod ord replST">
          <ac:chgData name="Tobias Brammer" userId="80a1e1bd-3b82-47a5-b259-da62a397db92" providerId="ADAL" clId="{008C3F84-4C29-4233-992B-2D26DEA7756B}" dt="2023-11-21T08:43:05.121" v="14006"/>
          <ac:spMkLst>
            <pc:docMk/>
            <pc:sldMk cId="1615006347" sldId="362"/>
            <ac:spMk id="52" creationId="{94F0ADE0-22CA-49E5-A51C-4B2F3F41A23A}"/>
          </ac:spMkLst>
        </pc:spChg>
        <pc:spChg chg="add del mod replST">
          <ac:chgData name="Tobias Brammer" userId="80a1e1bd-3b82-47a5-b259-da62a397db92" providerId="ADAL" clId="{008C3F84-4C29-4233-992B-2D26DEA7756B}" dt="2023-11-21T08:43:05.119" v="14000"/>
          <ac:spMkLst>
            <pc:docMk/>
            <pc:sldMk cId="1615006347" sldId="362"/>
            <ac:spMk id="53" creationId="{7A4AA153-BBD7-0876-9F26-6AA90DA65A85}"/>
          </ac:spMkLst>
        </pc:spChg>
        <pc:spChg chg="add del mod ord replST">
          <ac:chgData name="Tobias Brammer" userId="80a1e1bd-3b82-47a5-b259-da62a397db92" providerId="ADAL" clId="{008C3F84-4C29-4233-992B-2D26DEA7756B}" dt="2023-11-21T08:43:05.120" v="14003"/>
          <ac:spMkLst>
            <pc:docMk/>
            <pc:sldMk cId="1615006347" sldId="362"/>
            <ac:spMk id="54" creationId="{EEFDA5C8-4267-10E3-B0D7-D63DA49F65C0}"/>
          </ac:spMkLst>
        </pc:spChg>
        <pc:spChg chg="add del mod ord replST">
          <ac:chgData name="Tobias Brammer" userId="80a1e1bd-3b82-47a5-b259-da62a397db92" providerId="ADAL" clId="{008C3F84-4C29-4233-992B-2D26DEA7756B}" dt="2023-11-21T08:43:05.121" v="14007"/>
          <ac:spMkLst>
            <pc:docMk/>
            <pc:sldMk cId="1615006347" sldId="362"/>
            <ac:spMk id="55" creationId="{2292D4E5-A163-5FB0-EB4B-2B44DB7A07AB}"/>
          </ac:spMkLst>
        </pc:spChg>
        <pc:spChg chg="add del mod replST">
          <ac:chgData name="Tobias Brammer" userId="80a1e1bd-3b82-47a5-b259-da62a397db92" providerId="ADAL" clId="{008C3F84-4C29-4233-992B-2D26DEA7756B}" dt="2023-11-21T08:43:05.121" v="14005"/>
          <ac:spMkLst>
            <pc:docMk/>
            <pc:sldMk cId="1615006347" sldId="362"/>
            <ac:spMk id="56" creationId="{E0346B43-164A-609E-27D3-7A05FFE04978}"/>
          </ac:spMkLst>
        </pc:spChg>
        <pc:spChg chg="add del mod ord replST">
          <ac:chgData name="Tobias Brammer" userId="80a1e1bd-3b82-47a5-b259-da62a397db92" providerId="ADAL" clId="{008C3F84-4C29-4233-992B-2D26DEA7756B}" dt="2023-11-21T08:43:05.104" v="13951"/>
          <ac:spMkLst>
            <pc:docMk/>
            <pc:sldMk cId="1615006347" sldId="362"/>
            <ac:spMk id="57" creationId="{3BCD1B1C-481C-5D97-B80A-DE604C172F2B}"/>
          </ac:spMkLst>
        </pc:spChg>
        <pc:spChg chg="add del mod ord replST">
          <ac:chgData name="Tobias Brammer" userId="80a1e1bd-3b82-47a5-b259-da62a397db92" providerId="ADAL" clId="{008C3F84-4C29-4233-992B-2D26DEA7756B}" dt="2023-11-21T08:43:05.103" v="13950"/>
          <ac:spMkLst>
            <pc:docMk/>
            <pc:sldMk cId="1615006347" sldId="362"/>
            <ac:spMk id="58" creationId="{0E160289-A077-70E3-ABE3-A4C44BF31BDE}"/>
          </ac:spMkLst>
        </pc:spChg>
        <pc:spChg chg="add del mod replST">
          <ac:chgData name="Tobias Brammer" userId="80a1e1bd-3b82-47a5-b259-da62a397db92" providerId="ADAL" clId="{008C3F84-4C29-4233-992B-2D26DEA7756B}" dt="2023-11-21T08:43:05.107" v="13963"/>
          <ac:spMkLst>
            <pc:docMk/>
            <pc:sldMk cId="1615006347" sldId="362"/>
            <ac:spMk id="59" creationId="{7AD5F371-61C1-63B8-2DB2-CFF5B9D32441}"/>
          </ac:spMkLst>
        </pc:spChg>
        <pc:spChg chg="add del mod ord replST">
          <ac:chgData name="Tobias Brammer" userId="80a1e1bd-3b82-47a5-b259-da62a397db92" providerId="ADAL" clId="{008C3F84-4C29-4233-992B-2D26DEA7756B}" dt="2023-11-21T08:43:05.107" v="13962"/>
          <ac:spMkLst>
            <pc:docMk/>
            <pc:sldMk cId="1615006347" sldId="362"/>
            <ac:spMk id="60" creationId="{27E08067-706B-8D5A-E6F3-12B758F8E2EE}"/>
          </ac:spMkLst>
        </pc:spChg>
        <pc:spChg chg="add del mod ord replST">
          <ac:chgData name="Tobias Brammer" userId="80a1e1bd-3b82-47a5-b259-da62a397db92" providerId="ADAL" clId="{008C3F84-4C29-4233-992B-2D26DEA7756B}" dt="2023-11-21T08:43:05.108" v="13964"/>
          <ac:spMkLst>
            <pc:docMk/>
            <pc:sldMk cId="1615006347" sldId="362"/>
            <ac:spMk id="61" creationId="{09921B9E-72FB-51AB-F0F6-26A52DAEA7E3}"/>
          </ac:spMkLst>
        </pc:spChg>
        <pc:spChg chg="add del mod replST">
          <ac:chgData name="Tobias Brammer" userId="80a1e1bd-3b82-47a5-b259-da62a397db92" providerId="ADAL" clId="{008C3F84-4C29-4233-992B-2D26DEA7756B}" dt="2023-11-21T08:43:05.110" v="13971"/>
          <ac:spMkLst>
            <pc:docMk/>
            <pc:sldMk cId="1615006347" sldId="362"/>
            <ac:spMk id="62" creationId="{AD1E3F77-94C7-C873-CFDC-08A1F411FAB9}"/>
          </ac:spMkLst>
        </pc:spChg>
        <pc:spChg chg="add del mod ord replST">
          <ac:chgData name="Tobias Brammer" userId="80a1e1bd-3b82-47a5-b259-da62a397db92" providerId="ADAL" clId="{008C3F84-4C29-4233-992B-2D26DEA7756B}" dt="2023-11-21T08:43:05.110" v="13970"/>
          <ac:spMkLst>
            <pc:docMk/>
            <pc:sldMk cId="1615006347" sldId="362"/>
            <ac:spMk id="63" creationId="{8AD4AC6B-2AE5-9D0C-0E10-558CC347B609}"/>
          </ac:spMkLst>
        </pc:spChg>
        <pc:spChg chg="add del mod ord replST">
          <ac:chgData name="Tobias Brammer" userId="80a1e1bd-3b82-47a5-b259-da62a397db92" providerId="ADAL" clId="{008C3F84-4C29-4233-992B-2D26DEA7756B}" dt="2023-11-21T08:43:05.110" v="13972"/>
          <ac:spMkLst>
            <pc:docMk/>
            <pc:sldMk cId="1615006347" sldId="362"/>
            <ac:spMk id="64" creationId="{5FA4C821-7069-9DCC-2287-8FEAE75DEAFF}"/>
          </ac:spMkLst>
        </pc:spChg>
        <pc:spChg chg="add del mod replST">
          <ac:chgData name="Tobias Brammer" userId="80a1e1bd-3b82-47a5-b259-da62a397db92" providerId="ADAL" clId="{008C3F84-4C29-4233-992B-2D26DEA7756B}" dt="2023-11-21T08:43:05.109" v="13969"/>
          <ac:spMkLst>
            <pc:docMk/>
            <pc:sldMk cId="1615006347" sldId="362"/>
            <ac:spMk id="65" creationId="{B66616A7-BB53-9973-4A31-C7564146E910}"/>
          </ac:spMkLst>
        </pc:spChg>
        <pc:spChg chg="add del mod ord replST">
          <ac:chgData name="Tobias Brammer" userId="80a1e1bd-3b82-47a5-b259-da62a397db92" providerId="ADAL" clId="{008C3F84-4C29-4233-992B-2D26DEA7756B}" dt="2023-11-21T08:43:05.109" v="13967"/>
          <ac:spMkLst>
            <pc:docMk/>
            <pc:sldMk cId="1615006347" sldId="362"/>
            <ac:spMk id="66" creationId="{00782CDE-965C-AFF6-ACC4-5A2854B8ED30}"/>
          </ac:spMkLst>
        </pc:spChg>
        <pc:spChg chg="add del mod ord replST">
          <ac:chgData name="Tobias Brammer" userId="80a1e1bd-3b82-47a5-b259-da62a397db92" providerId="ADAL" clId="{008C3F84-4C29-4233-992B-2D26DEA7756B}" dt="2023-11-21T08:43:05.108" v="13966"/>
          <ac:spMkLst>
            <pc:docMk/>
            <pc:sldMk cId="1615006347" sldId="362"/>
            <ac:spMk id="67" creationId="{94C8EFBD-54BB-D6B5-3F66-8742673AAAAB}"/>
          </ac:spMkLst>
        </pc:spChg>
        <pc:spChg chg="add del mod replST">
          <ac:chgData name="Tobias Brammer" userId="80a1e1bd-3b82-47a5-b259-da62a397db92" providerId="ADAL" clId="{008C3F84-4C29-4233-992B-2D26DEA7756B}" dt="2023-11-21T08:43:05.109" v="13968"/>
          <ac:spMkLst>
            <pc:docMk/>
            <pc:sldMk cId="1615006347" sldId="362"/>
            <ac:spMk id="68" creationId="{ACC1C355-0310-27CF-6716-6929620357A9}"/>
          </ac:spMkLst>
        </pc:spChg>
        <pc:spChg chg="add del mod ord replST">
          <ac:chgData name="Tobias Brammer" userId="80a1e1bd-3b82-47a5-b259-da62a397db92" providerId="ADAL" clId="{008C3F84-4C29-4233-992B-2D26DEA7756B}" dt="2023-11-21T08:43:05.108" v="13965"/>
          <ac:spMkLst>
            <pc:docMk/>
            <pc:sldMk cId="1615006347" sldId="362"/>
            <ac:spMk id="69" creationId="{0FA335C1-CE0D-27A5-488E-68235F60BDEB}"/>
          </ac:spMkLst>
        </pc:spChg>
        <pc:spChg chg="add del mod ord replST">
          <ac:chgData name="Tobias Brammer" userId="80a1e1bd-3b82-47a5-b259-da62a397db92" providerId="ADAL" clId="{008C3F84-4C29-4233-992B-2D26DEA7756B}" dt="2023-11-21T08:43:05.105" v="13957"/>
          <ac:spMkLst>
            <pc:docMk/>
            <pc:sldMk cId="1615006347" sldId="362"/>
            <ac:spMk id="70" creationId="{0BB10A96-B3A2-04D4-06BF-8AD159CD6EA9}"/>
          </ac:spMkLst>
        </pc:spChg>
        <pc:spChg chg="add del mod replST">
          <ac:chgData name="Tobias Brammer" userId="80a1e1bd-3b82-47a5-b259-da62a397db92" providerId="ADAL" clId="{008C3F84-4C29-4233-992B-2D26DEA7756B}" dt="2023-11-21T08:43:05.105" v="13955"/>
          <ac:spMkLst>
            <pc:docMk/>
            <pc:sldMk cId="1615006347" sldId="362"/>
            <ac:spMk id="71" creationId="{68B8AD16-5DB4-A5DE-2ECF-00AFE4DAC1F4}"/>
          </ac:spMkLst>
        </pc:spChg>
        <pc:spChg chg="add del mod ord replST">
          <ac:chgData name="Tobias Brammer" userId="80a1e1bd-3b82-47a5-b259-da62a397db92" providerId="ADAL" clId="{008C3F84-4C29-4233-992B-2D26DEA7756B}" dt="2023-11-21T08:43:05.107" v="13961"/>
          <ac:spMkLst>
            <pc:docMk/>
            <pc:sldMk cId="1615006347" sldId="362"/>
            <ac:spMk id="72" creationId="{88CD9EC5-F922-B598-6781-DB9BB9DFB725}"/>
          </ac:spMkLst>
        </pc:spChg>
        <pc:spChg chg="add del mod ord replST">
          <ac:chgData name="Tobias Brammer" userId="80a1e1bd-3b82-47a5-b259-da62a397db92" providerId="ADAL" clId="{008C3F84-4C29-4233-992B-2D26DEA7756B}" dt="2023-11-21T08:43:05.106" v="13960"/>
          <ac:spMkLst>
            <pc:docMk/>
            <pc:sldMk cId="1615006347" sldId="362"/>
            <ac:spMk id="73" creationId="{9016B4C5-5914-3C41-3481-D7A65E93B9BE}"/>
          </ac:spMkLst>
        </pc:spChg>
        <pc:spChg chg="add del mod replST">
          <ac:chgData name="Tobias Brammer" userId="80a1e1bd-3b82-47a5-b259-da62a397db92" providerId="ADAL" clId="{008C3F84-4C29-4233-992B-2D26DEA7756B}" dt="2023-11-21T08:43:05.105" v="13956"/>
          <ac:spMkLst>
            <pc:docMk/>
            <pc:sldMk cId="1615006347" sldId="362"/>
            <ac:spMk id="74" creationId="{A19DE42A-436A-7FFC-F3AC-DDF8E00BC578}"/>
          </ac:spMkLst>
        </pc:spChg>
        <pc:spChg chg="add del mod ord replST">
          <ac:chgData name="Tobias Brammer" userId="80a1e1bd-3b82-47a5-b259-da62a397db92" providerId="ADAL" clId="{008C3F84-4C29-4233-992B-2D26DEA7756B}" dt="2023-11-21T08:43:05.104" v="13952"/>
          <ac:spMkLst>
            <pc:docMk/>
            <pc:sldMk cId="1615006347" sldId="362"/>
            <ac:spMk id="75" creationId="{A274235F-2075-B1EE-188C-9E38ABDBC39A}"/>
          </ac:spMkLst>
        </pc:spChg>
        <pc:spChg chg="add del mod ord replST">
          <ac:chgData name="Tobias Brammer" userId="80a1e1bd-3b82-47a5-b259-da62a397db92" providerId="ADAL" clId="{008C3F84-4C29-4233-992B-2D26DEA7756B}" dt="2023-11-21T08:43:05.106" v="13959"/>
          <ac:spMkLst>
            <pc:docMk/>
            <pc:sldMk cId="1615006347" sldId="362"/>
            <ac:spMk id="76" creationId="{34CFC85D-3AD0-9F0B-ECAE-E01728171F15}"/>
          </ac:spMkLst>
        </pc:spChg>
        <pc:spChg chg="add del mod replST">
          <ac:chgData name="Tobias Brammer" userId="80a1e1bd-3b82-47a5-b259-da62a397db92" providerId="ADAL" clId="{008C3F84-4C29-4233-992B-2D26DEA7756B}" dt="2023-11-21T08:43:05.106" v="13958"/>
          <ac:spMkLst>
            <pc:docMk/>
            <pc:sldMk cId="1615006347" sldId="362"/>
            <ac:spMk id="77" creationId="{EE7D0A88-424D-1A4F-0123-35EB63B78E0D}"/>
          </ac:spMkLst>
        </pc:spChg>
        <pc:spChg chg="add del mod ord replST">
          <ac:chgData name="Tobias Brammer" userId="80a1e1bd-3b82-47a5-b259-da62a397db92" providerId="ADAL" clId="{008C3F84-4C29-4233-992B-2D26DEA7756B}" dt="2023-11-21T08:43:05.105" v="13954"/>
          <ac:spMkLst>
            <pc:docMk/>
            <pc:sldMk cId="1615006347" sldId="362"/>
            <ac:spMk id="78" creationId="{5C91CB82-04B6-AD61-422D-088A9E6F5576}"/>
          </ac:spMkLst>
        </pc:spChg>
        <pc:spChg chg="add del mod ord replST">
          <ac:chgData name="Tobias Brammer" userId="80a1e1bd-3b82-47a5-b259-da62a397db92" providerId="ADAL" clId="{008C3F84-4C29-4233-992B-2D26DEA7756B}" dt="2023-11-21T08:43:05.104" v="13953"/>
          <ac:spMkLst>
            <pc:docMk/>
            <pc:sldMk cId="1615006347" sldId="362"/>
            <ac:spMk id="79" creationId="{60633F42-7330-1BBA-F2E1-D07A22BF55F3}"/>
          </ac:spMkLst>
        </pc:spChg>
        <pc:spChg chg="add del mod replST">
          <ac:chgData name="Tobias Brammer" userId="80a1e1bd-3b82-47a5-b259-da62a397db92" providerId="ADAL" clId="{008C3F84-4C29-4233-992B-2D26DEA7756B}" dt="2023-11-21T08:43:05.117" v="13991"/>
          <ac:spMkLst>
            <pc:docMk/>
            <pc:sldMk cId="1615006347" sldId="362"/>
            <ac:spMk id="80" creationId="{3AE7389B-848B-46DC-F82E-41DE28A89B20}"/>
          </ac:spMkLst>
        </pc:spChg>
        <pc:spChg chg="add del mod ord replST">
          <ac:chgData name="Tobias Brammer" userId="80a1e1bd-3b82-47a5-b259-da62a397db92" providerId="ADAL" clId="{008C3F84-4C29-4233-992B-2D26DEA7756B}" dt="2023-11-21T08:43:05.115" v="13986"/>
          <ac:spMkLst>
            <pc:docMk/>
            <pc:sldMk cId="1615006347" sldId="362"/>
            <ac:spMk id="81" creationId="{A9A79C68-53CF-045A-EEB7-4AE7F7C15EA1}"/>
          </ac:spMkLst>
        </pc:spChg>
        <pc:spChg chg="add del mod ord replST">
          <ac:chgData name="Tobias Brammer" userId="80a1e1bd-3b82-47a5-b259-da62a397db92" providerId="ADAL" clId="{008C3F84-4C29-4233-992B-2D26DEA7756B}" dt="2023-11-21T08:43:05.117" v="13993"/>
          <ac:spMkLst>
            <pc:docMk/>
            <pc:sldMk cId="1615006347" sldId="362"/>
            <ac:spMk id="82" creationId="{D66A9090-B271-6503-0751-F69774557393}"/>
          </ac:spMkLst>
        </pc:spChg>
        <pc:spChg chg="add del mod replST">
          <ac:chgData name="Tobias Brammer" userId="80a1e1bd-3b82-47a5-b259-da62a397db92" providerId="ADAL" clId="{008C3F84-4C29-4233-992B-2D26DEA7756B}" dt="2023-11-21T08:43:05.115" v="13985"/>
          <ac:spMkLst>
            <pc:docMk/>
            <pc:sldMk cId="1615006347" sldId="362"/>
            <ac:spMk id="83" creationId="{ADBE21AF-7F35-B592-0814-B448010A7625}"/>
          </ac:spMkLst>
        </pc:spChg>
        <pc:spChg chg="add del mod ord replST">
          <ac:chgData name="Tobias Brammer" userId="80a1e1bd-3b82-47a5-b259-da62a397db92" providerId="ADAL" clId="{008C3F84-4C29-4233-992B-2D26DEA7756B}" dt="2023-11-21T08:43:05.116" v="13988"/>
          <ac:spMkLst>
            <pc:docMk/>
            <pc:sldMk cId="1615006347" sldId="362"/>
            <ac:spMk id="84" creationId="{91549DE1-5CB6-8B11-4A8B-742A0CBD4F07}"/>
          </ac:spMkLst>
        </pc:spChg>
        <pc:spChg chg="add del mod ord replST">
          <ac:chgData name="Tobias Brammer" userId="80a1e1bd-3b82-47a5-b259-da62a397db92" providerId="ADAL" clId="{008C3F84-4C29-4233-992B-2D26DEA7756B}" dt="2023-11-21T08:43:05.116" v="13990"/>
          <ac:spMkLst>
            <pc:docMk/>
            <pc:sldMk cId="1615006347" sldId="362"/>
            <ac:spMk id="85" creationId="{29B866A0-D558-5759-1DC1-A3726498065A}"/>
          </ac:spMkLst>
        </pc:spChg>
        <pc:spChg chg="add del mod replST">
          <ac:chgData name="Tobias Brammer" userId="80a1e1bd-3b82-47a5-b259-da62a397db92" providerId="ADAL" clId="{008C3F84-4C29-4233-992B-2D26DEA7756B}" dt="2023-11-21T08:43:05.114" v="13983"/>
          <ac:spMkLst>
            <pc:docMk/>
            <pc:sldMk cId="1615006347" sldId="362"/>
            <ac:spMk id="86" creationId="{DA8000B7-7B70-E558-8797-F4A980E7C6E4}"/>
          </ac:spMkLst>
        </pc:spChg>
        <pc:spChg chg="add del mod ord replST">
          <ac:chgData name="Tobias Brammer" userId="80a1e1bd-3b82-47a5-b259-da62a397db92" providerId="ADAL" clId="{008C3F84-4C29-4233-992B-2D26DEA7756B}" dt="2023-11-21T08:43:05.114" v="13984"/>
          <ac:spMkLst>
            <pc:docMk/>
            <pc:sldMk cId="1615006347" sldId="362"/>
            <ac:spMk id="87" creationId="{075B1BB2-8FD3-DFFD-ECBC-F3C13F34F246}"/>
          </ac:spMkLst>
        </pc:spChg>
        <pc:spChg chg="add del mod ord replST">
          <ac:chgData name="Tobias Brammer" userId="80a1e1bd-3b82-47a5-b259-da62a397db92" providerId="ADAL" clId="{008C3F84-4C29-4233-992B-2D26DEA7756B}" dt="2023-11-21T08:43:05.116" v="13989"/>
          <ac:spMkLst>
            <pc:docMk/>
            <pc:sldMk cId="1615006347" sldId="362"/>
            <ac:spMk id="88" creationId="{2A9CC6D9-0970-15CF-CA2E-77613B6112D9}"/>
          </ac:spMkLst>
        </pc:spChg>
        <pc:spChg chg="add del mod replST">
          <ac:chgData name="Tobias Brammer" userId="80a1e1bd-3b82-47a5-b259-da62a397db92" providerId="ADAL" clId="{008C3F84-4C29-4233-992B-2D26DEA7756B}" dt="2023-11-21T08:43:05.115" v="13987"/>
          <ac:spMkLst>
            <pc:docMk/>
            <pc:sldMk cId="1615006347" sldId="362"/>
            <ac:spMk id="89" creationId="{4EB81216-1F92-8F46-5D5C-B9663901E22E}"/>
          </ac:spMkLst>
        </pc:spChg>
        <pc:spChg chg="add del mod ord replST">
          <ac:chgData name="Tobias Brammer" userId="80a1e1bd-3b82-47a5-b259-da62a397db92" providerId="ADAL" clId="{008C3F84-4C29-4233-992B-2D26DEA7756B}" dt="2023-11-21T08:43:05.114" v="13982"/>
          <ac:spMkLst>
            <pc:docMk/>
            <pc:sldMk cId="1615006347" sldId="362"/>
            <ac:spMk id="90" creationId="{730C6DAB-33B9-5BC0-29D1-7C669001138F}"/>
          </ac:spMkLst>
        </pc:spChg>
        <pc:spChg chg="add del mod ord replST">
          <ac:chgData name="Tobias Brammer" userId="80a1e1bd-3b82-47a5-b259-da62a397db92" providerId="ADAL" clId="{008C3F84-4C29-4233-992B-2D26DEA7756B}" dt="2023-11-21T08:43:05.117" v="13992"/>
          <ac:spMkLst>
            <pc:docMk/>
            <pc:sldMk cId="1615006347" sldId="362"/>
            <ac:spMk id="91" creationId="{FFB59EA9-3C40-33C4-F3BA-58BDC8D53103}"/>
          </ac:spMkLst>
        </pc:spChg>
        <pc:spChg chg="add del mod modVis">
          <ac:chgData name="Tobias Brammer" userId="80a1e1bd-3b82-47a5-b259-da62a397db92" providerId="ADAL" clId="{008C3F84-4C29-4233-992B-2D26DEA7756B}" dt="2023-11-21T08:40:22.002" v="7089"/>
          <ac:spMkLst>
            <pc:docMk/>
            <pc:sldMk cId="1615006347" sldId="362"/>
            <ac:spMk id="92" creationId="{41739A95-4C79-C50B-4845-4CEDE8A92517}"/>
          </ac:spMkLst>
        </pc:spChg>
        <pc:spChg chg="add del mod modVis">
          <ac:chgData name="Tobias Brammer" userId="80a1e1bd-3b82-47a5-b259-da62a397db92" providerId="ADAL" clId="{008C3F84-4C29-4233-992B-2D26DEA7756B}" dt="2023-11-21T08:40:48.228" v="8331" actId="962"/>
          <ac:spMkLst>
            <pc:docMk/>
            <pc:sldMk cId="1615006347" sldId="362"/>
            <ac:spMk id="93" creationId="{1A07C1D3-6199-2509-255A-91BC14F3EB68}"/>
          </ac:spMkLst>
        </pc:spChg>
        <pc:spChg chg="add del mod modVis">
          <ac:chgData name="Tobias Brammer" userId="80a1e1bd-3b82-47a5-b259-da62a397db92" providerId="ADAL" clId="{008C3F84-4C29-4233-992B-2D26DEA7756B}" dt="2023-11-21T08:41:00.335" v="8714"/>
          <ac:spMkLst>
            <pc:docMk/>
            <pc:sldMk cId="1615006347" sldId="362"/>
            <ac:spMk id="94" creationId="{EF4F48CD-353D-8E5B-1F9C-5361C9CEAB51}"/>
          </ac:spMkLst>
        </pc:spChg>
        <pc:spChg chg="add del mod modVis">
          <ac:chgData name="Tobias Brammer" userId="80a1e1bd-3b82-47a5-b259-da62a397db92" providerId="ADAL" clId="{008C3F84-4C29-4233-992B-2D26DEA7756B}" dt="2023-11-21T08:41:12.052" v="10074"/>
          <ac:spMkLst>
            <pc:docMk/>
            <pc:sldMk cId="1615006347" sldId="362"/>
            <ac:spMk id="95" creationId="{C3F43D6E-8DA9-544F-CE2C-F0E046363786}"/>
          </ac:spMkLst>
        </pc:spChg>
        <pc:spChg chg="add del mod modVis">
          <ac:chgData name="Tobias Brammer" userId="80a1e1bd-3b82-47a5-b259-da62a397db92" providerId="ADAL" clId="{008C3F84-4C29-4233-992B-2D26DEA7756B}" dt="2023-11-21T08:41:14.753" v="11016"/>
          <ac:spMkLst>
            <pc:docMk/>
            <pc:sldMk cId="1615006347" sldId="362"/>
            <ac:spMk id="96" creationId="{23D1E293-D57E-243C-5A15-148E9A3234BE}"/>
          </ac:spMkLst>
        </pc:spChg>
        <pc:spChg chg="add del mod modVis">
          <ac:chgData name="Tobias Brammer" userId="80a1e1bd-3b82-47a5-b259-da62a397db92" providerId="ADAL" clId="{008C3F84-4C29-4233-992B-2D26DEA7756B}" dt="2023-11-21T08:41:40.178" v="11472"/>
          <ac:spMkLst>
            <pc:docMk/>
            <pc:sldMk cId="1615006347" sldId="362"/>
            <ac:spMk id="97" creationId="{DEAF5251-20B5-80CA-8510-148A2CDEFCDD}"/>
          </ac:spMkLst>
        </pc:spChg>
        <pc:spChg chg="add mod replST">
          <ac:chgData name="Tobias Brammer" userId="80a1e1bd-3b82-47a5-b259-da62a397db92" providerId="ADAL" clId="{008C3F84-4C29-4233-992B-2D26DEA7756B}" dt="2023-11-21T08:42:08.941" v="11606"/>
          <ac:spMkLst>
            <pc:docMk/>
            <pc:sldMk cId="1615006347" sldId="362"/>
            <ac:spMk id="98" creationId="{05D3608A-C67A-F534-EF39-6549B27F9140}"/>
          </ac:spMkLst>
        </pc:spChg>
        <pc:spChg chg="add del mod modVis">
          <ac:chgData name="Tobias Brammer" userId="80a1e1bd-3b82-47a5-b259-da62a397db92" providerId="ADAL" clId="{008C3F84-4C29-4233-992B-2D26DEA7756B}" dt="2023-11-21T08:42:08.941" v="11606"/>
          <ac:spMkLst>
            <pc:docMk/>
            <pc:sldMk cId="1615006347" sldId="362"/>
            <ac:spMk id="99" creationId="{B8E18191-C19C-4CD6-29F0-CB33853A4AA5}"/>
          </ac:spMkLst>
        </pc:spChg>
        <pc:spChg chg="add del mod modVis">
          <ac:chgData name="Tobias Brammer" userId="80a1e1bd-3b82-47a5-b259-da62a397db92" providerId="ADAL" clId="{008C3F84-4C29-4233-992B-2D26DEA7756B}" dt="2023-11-21T08:42:16.153" v="11870"/>
          <ac:spMkLst>
            <pc:docMk/>
            <pc:sldMk cId="1615006347" sldId="362"/>
            <ac:spMk id="100" creationId="{20FC5F79-5DE5-309A-776D-9447DFA738F3}"/>
          </ac:spMkLst>
        </pc:spChg>
        <pc:spChg chg="add del mod modVis">
          <ac:chgData name="Tobias Brammer" userId="80a1e1bd-3b82-47a5-b259-da62a397db92" providerId="ADAL" clId="{008C3F84-4C29-4233-992B-2D26DEA7756B}" dt="2023-11-21T08:42:17.071" v="11968"/>
          <ac:spMkLst>
            <pc:docMk/>
            <pc:sldMk cId="1615006347" sldId="362"/>
            <ac:spMk id="101" creationId="{2256477C-6043-4B2F-4189-1B5D09FD336F}"/>
          </ac:spMkLst>
        </pc:spChg>
        <pc:spChg chg="add del mod modVis">
          <ac:chgData name="Tobias Brammer" userId="80a1e1bd-3b82-47a5-b259-da62a397db92" providerId="ADAL" clId="{008C3F84-4C29-4233-992B-2D26DEA7756B}" dt="2023-11-21T08:42:18.356" v="12066"/>
          <ac:spMkLst>
            <pc:docMk/>
            <pc:sldMk cId="1615006347" sldId="362"/>
            <ac:spMk id="102" creationId="{D855BCD5-096C-6B6E-0410-82A7BE5E3539}"/>
          </ac:spMkLst>
        </pc:spChg>
        <pc:spChg chg="add del mod modVis">
          <ac:chgData name="Tobias Brammer" userId="80a1e1bd-3b82-47a5-b259-da62a397db92" providerId="ADAL" clId="{008C3F84-4C29-4233-992B-2D26DEA7756B}" dt="2023-11-21T08:42:19.127" v="12164"/>
          <ac:spMkLst>
            <pc:docMk/>
            <pc:sldMk cId="1615006347" sldId="362"/>
            <ac:spMk id="103" creationId="{3CCE4934-0EA0-CF88-270E-D5A4543484AC}"/>
          </ac:spMkLst>
        </pc:spChg>
        <pc:spChg chg="add del mod modVis">
          <ac:chgData name="Tobias Brammer" userId="80a1e1bd-3b82-47a5-b259-da62a397db92" providerId="ADAL" clId="{008C3F84-4C29-4233-992B-2D26DEA7756B}" dt="2023-11-21T08:42:55.249" v="13541"/>
          <ac:spMkLst>
            <pc:docMk/>
            <pc:sldMk cId="1615006347" sldId="362"/>
            <ac:spMk id="104" creationId="{D343A9E3-1A60-AB48-EB22-A6F5517040AA}"/>
          </ac:spMkLst>
        </pc:spChg>
        <pc:spChg chg="add del mod modVis">
          <ac:chgData name="Tobias Brammer" userId="80a1e1bd-3b82-47a5-b259-da62a397db92" providerId="ADAL" clId="{008C3F84-4C29-4233-992B-2D26DEA7756B}" dt="2023-11-21T08:42:57.520" v="13795"/>
          <ac:spMkLst>
            <pc:docMk/>
            <pc:sldMk cId="1615006347" sldId="362"/>
            <ac:spMk id="105" creationId="{F7760823-1326-4C92-0529-EF2A15BE7630}"/>
          </ac:spMkLst>
        </pc:spChg>
        <pc:spChg chg="add del mod modVis">
          <ac:chgData name="Tobias Brammer" userId="80a1e1bd-3b82-47a5-b259-da62a397db92" providerId="ADAL" clId="{008C3F84-4C29-4233-992B-2D26DEA7756B}" dt="2023-11-21T08:42:58.856" v="13947"/>
          <ac:spMkLst>
            <pc:docMk/>
            <pc:sldMk cId="1615006347" sldId="362"/>
            <ac:spMk id="106" creationId="{4F661110-12D2-42B6-A150-AE335A10F964}"/>
          </ac:spMkLst>
        </pc:spChg>
        <pc:spChg chg="add del mod modVis">
          <ac:chgData name="Tobias Brammer" userId="80a1e1bd-3b82-47a5-b259-da62a397db92" providerId="ADAL" clId="{008C3F84-4C29-4233-992B-2D26DEA7756B}" dt="2023-11-21T08:43:05.176" v="14055"/>
          <ac:spMkLst>
            <pc:docMk/>
            <pc:sldMk cId="1615006347" sldId="362"/>
            <ac:spMk id="107" creationId="{95454A4F-8372-7D5F-4530-AFD5DE9CB5AC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203"/>
          <ac:spMkLst>
            <pc:docMk/>
            <pc:sldMk cId="1615006347" sldId="362"/>
            <ac:spMk id="108" creationId="{BA4B6A80-A37F-E342-F053-D53275F89B9D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20"/>
          <ac:spMkLst>
            <pc:docMk/>
            <pc:sldMk cId="1615006347" sldId="362"/>
            <ac:spMk id="109" creationId="{6BE9F7EA-CEBA-23C6-19F2-B7E331B8AB27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204"/>
          <ac:spMkLst>
            <pc:docMk/>
            <pc:sldMk cId="1615006347" sldId="362"/>
            <ac:spMk id="110" creationId="{EBC58D8C-59BF-531C-2C03-C34239896C14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205"/>
          <ac:spMkLst>
            <pc:docMk/>
            <pc:sldMk cId="1615006347" sldId="362"/>
            <ac:spMk id="111" creationId="{B6ACAB26-F3E9-94A7-D76E-D70CBF38A347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206"/>
          <ac:spMkLst>
            <pc:docMk/>
            <pc:sldMk cId="1615006347" sldId="362"/>
            <ac:spMk id="112" creationId="{A9FAC88F-986B-DF48-671C-55C7A02E96F6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208"/>
          <ac:spMkLst>
            <pc:docMk/>
            <pc:sldMk cId="1615006347" sldId="362"/>
            <ac:spMk id="113" creationId="{6BAE1323-3491-86AB-BD4A-7A2681311A27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210"/>
          <ac:spMkLst>
            <pc:docMk/>
            <pc:sldMk cId="1615006347" sldId="362"/>
            <ac:spMk id="114" creationId="{EBA56032-F751-3C14-43D0-9EFB174ED62C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201"/>
          <ac:spMkLst>
            <pc:docMk/>
            <pc:sldMk cId="1615006347" sldId="362"/>
            <ac:spMk id="115" creationId="{16BE71BB-7954-7B1A-549E-A3E7D05DB85F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211"/>
          <ac:spMkLst>
            <pc:docMk/>
            <pc:sldMk cId="1615006347" sldId="362"/>
            <ac:spMk id="116" creationId="{F5DD1E9F-88EE-5BAA-73DB-F4CF46632D79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199"/>
          <ac:spMkLst>
            <pc:docMk/>
            <pc:sldMk cId="1615006347" sldId="362"/>
            <ac:spMk id="117" creationId="{2D8CDFCF-864B-C78E-D890-95C15E19505C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212"/>
          <ac:spMkLst>
            <pc:docMk/>
            <pc:sldMk cId="1615006347" sldId="362"/>
            <ac:spMk id="118" creationId="{297B08A3-AF8B-A842-84C4-2549C67E4689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214"/>
          <ac:spMkLst>
            <pc:docMk/>
            <pc:sldMk cId="1615006347" sldId="362"/>
            <ac:spMk id="119" creationId="{AA2B33BF-5ED0-12BE-41CD-540480518118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16"/>
          <ac:spMkLst>
            <pc:docMk/>
            <pc:sldMk cId="1615006347" sldId="362"/>
            <ac:spMk id="120" creationId="{2E30D5F9-0BEC-5FAA-928B-24C8461DD0AA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18"/>
          <ac:spMkLst>
            <pc:docMk/>
            <pc:sldMk cId="1615006347" sldId="362"/>
            <ac:spMk id="121" creationId="{ABC32BC8-7B61-86DE-38DC-5AF0A8B6EAE8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21"/>
          <ac:spMkLst>
            <pc:docMk/>
            <pc:sldMk cId="1615006347" sldId="362"/>
            <ac:spMk id="122" creationId="{B9238886-0E14-FA45-744C-FC8736675DE0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22"/>
          <ac:spMkLst>
            <pc:docMk/>
            <pc:sldMk cId="1615006347" sldId="362"/>
            <ac:spMk id="123" creationId="{94C202E1-E41C-2BE6-DDFB-E6A0B36F1DDA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36"/>
          <ac:spMkLst>
            <pc:docMk/>
            <pc:sldMk cId="1615006347" sldId="362"/>
            <ac:spMk id="124" creationId="{C031D359-E90A-A884-8815-AEC391713B0A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24"/>
          <ac:spMkLst>
            <pc:docMk/>
            <pc:sldMk cId="1615006347" sldId="362"/>
            <ac:spMk id="125" creationId="{C21CC23A-BD52-D833-34F8-B70B74FD2C8A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27"/>
          <ac:spMkLst>
            <pc:docMk/>
            <pc:sldMk cId="1615006347" sldId="362"/>
            <ac:spMk id="126" creationId="{DA35B1C2-0527-4BA9-4EB5-F91C20488BE6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38"/>
          <ac:spMkLst>
            <pc:docMk/>
            <pc:sldMk cId="1615006347" sldId="362"/>
            <ac:spMk id="127" creationId="{95FE47B7-03A1-A19B-921A-1A0427A1AB63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40"/>
          <ac:spMkLst>
            <pc:docMk/>
            <pc:sldMk cId="1615006347" sldId="362"/>
            <ac:spMk id="128" creationId="{AA02E05F-6186-E1D4-304E-B4F4A47BA16F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32"/>
          <ac:spMkLst>
            <pc:docMk/>
            <pc:sldMk cId="1615006347" sldId="362"/>
            <ac:spMk id="129" creationId="{3C8196F4-2436-1275-DFA7-0040BEBE2F73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25"/>
          <ac:spMkLst>
            <pc:docMk/>
            <pc:sldMk cId="1615006347" sldId="362"/>
            <ac:spMk id="130" creationId="{46E64481-EA5E-5CEA-229F-30235C43B286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29"/>
          <ac:spMkLst>
            <pc:docMk/>
            <pc:sldMk cId="1615006347" sldId="362"/>
            <ac:spMk id="131" creationId="{30A12A99-E127-BFBF-04C6-C2FBC242B323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31"/>
          <ac:spMkLst>
            <pc:docMk/>
            <pc:sldMk cId="1615006347" sldId="362"/>
            <ac:spMk id="132" creationId="{841E9BDF-E1B2-F968-BD4E-9713834979B2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34"/>
          <ac:spMkLst>
            <pc:docMk/>
            <pc:sldMk cId="1615006347" sldId="362"/>
            <ac:spMk id="133" creationId="{6A574F1A-2C19-6676-7E75-3AD7DFBB3682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39"/>
          <ac:spMkLst>
            <pc:docMk/>
            <pc:sldMk cId="1615006347" sldId="362"/>
            <ac:spMk id="134" creationId="{0F6976C6-A198-9197-DD0F-4F044A4581E3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35"/>
          <ac:spMkLst>
            <pc:docMk/>
            <pc:sldMk cId="1615006347" sldId="362"/>
            <ac:spMk id="135" creationId="{C51F5442-38C7-CD65-4AF1-0B70F254D710}"/>
          </ac:spMkLst>
        </pc:spChg>
        <pc:spChg chg="add del mod replST">
          <ac:chgData name="Tobias Brammer" userId="80a1e1bd-3b82-47a5-b259-da62a397db92" providerId="ADAL" clId="{008C3F84-4C29-4233-992B-2D26DEA7756B}" dt="2023-11-21T08:46:08.333" v="16164"/>
          <ac:spMkLst>
            <pc:docMk/>
            <pc:sldMk cId="1615006347" sldId="362"/>
            <ac:spMk id="136" creationId="{3E609CED-C12C-ADE3-32EF-DB7D1C9635FF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71"/>
          <ac:spMkLst>
            <pc:docMk/>
            <pc:sldMk cId="1615006347" sldId="362"/>
            <ac:spMk id="137" creationId="{40549BC3-F60B-D35F-C8EE-D1340F3B85A5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66"/>
          <ac:spMkLst>
            <pc:docMk/>
            <pc:sldMk cId="1615006347" sldId="362"/>
            <ac:spMk id="138" creationId="{69E5967D-1B43-CAAF-510B-67428009B385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73"/>
          <ac:spMkLst>
            <pc:docMk/>
            <pc:sldMk cId="1615006347" sldId="362"/>
            <ac:spMk id="139" creationId="{72A6DB28-7567-1AE2-B45A-FB7E266FC0FE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67"/>
          <ac:spMkLst>
            <pc:docMk/>
            <pc:sldMk cId="1615006347" sldId="362"/>
            <ac:spMk id="140" creationId="{06D84AF2-90CD-B5F6-A537-C12C102F1967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68"/>
          <ac:spMkLst>
            <pc:docMk/>
            <pc:sldMk cId="1615006347" sldId="362"/>
            <ac:spMk id="141" creationId="{639849E4-4C76-8823-7C93-5F439FA34CFA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69"/>
          <ac:spMkLst>
            <pc:docMk/>
            <pc:sldMk cId="1615006347" sldId="362"/>
            <ac:spMk id="142" creationId="{BC0DCE01-302C-E1BC-99CD-EB7691357C77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75"/>
          <ac:spMkLst>
            <pc:docMk/>
            <pc:sldMk cId="1615006347" sldId="362"/>
            <ac:spMk id="143" creationId="{366A1A68-810D-0CDD-B2A1-827B1D4F97F9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77"/>
          <ac:spMkLst>
            <pc:docMk/>
            <pc:sldMk cId="1615006347" sldId="362"/>
            <ac:spMk id="144" creationId="{D1ACED57-EC9A-580A-0B17-73C12E271E91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79"/>
          <ac:spMkLst>
            <pc:docMk/>
            <pc:sldMk cId="1615006347" sldId="362"/>
            <ac:spMk id="145" creationId="{E006E5ED-C04E-05B2-2411-0CDA81A9BD94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91"/>
          <ac:spMkLst>
            <pc:docMk/>
            <pc:sldMk cId="1615006347" sldId="362"/>
            <ac:spMk id="146" creationId="{BE103359-84D2-CCB9-C3D1-8F9F55B72709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192"/>
          <ac:spMkLst>
            <pc:docMk/>
            <pc:sldMk cId="1615006347" sldId="362"/>
            <ac:spMk id="147" creationId="{D99F6490-9FD7-3EF7-B2EE-F9E64460FF4B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193"/>
          <ac:spMkLst>
            <pc:docMk/>
            <pc:sldMk cId="1615006347" sldId="362"/>
            <ac:spMk id="148" creationId="{19583DD5-DEC5-8C66-9035-EE9EFE4517C1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86"/>
          <ac:spMkLst>
            <pc:docMk/>
            <pc:sldMk cId="1615006347" sldId="362"/>
            <ac:spMk id="149" creationId="{D80B30F8-CCE2-4593-573F-50D505F64EE6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195"/>
          <ac:spMkLst>
            <pc:docMk/>
            <pc:sldMk cId="1615006347" sldId="362"/>
            <ac:spMk id="150" creationId="{BA783285-C54E-B738-BDCC-42AA92F1ABCC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88"/>
          <ac:spMkLst>
            <pc:docMk/>
            <pc:sldMk cId="1615006347" sldId="362"/>
            <ac:spMk id="151" creationId="{F4733144-1BE7-851C-7291-E8CB2305A9DD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89"/>
          <ac:spMkLst>
            <pc:docMk/>
            <pc:sldMk cId="1615006347" sldId="362"/>
            <ac:spMk id="152" creationId="{4E14C54B-D7AD-F100-F28E-8E9C43947C94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90"/>
          <ac:spMkLst>
            <pc:docMk/>
            <pc:sldMk cId="1615006347" sldId="362"/>
            <ac:spMk id="153" creationId="{737F9D41-B394-8662-AD8B-CC01D975AB21}"/>
          </ac:spMkLst>
        </pc:spChg>
        <pc:spChg chg="add del mod replST">
          <ac:chgData name="Tobias Brammer" userId="80a1e1bd-3b82-47a5-b259-da62a397db92" providerId="ADAL" clId="{008C3F84-4C29-4233-992B-2D26DEA7756B}" dt="2023-11-21T08:46:08.348" v="16184"/>
          <ac:spMkLst>
            <pc:docMk/>
            <pc:sldMk cId="1615006347" sldId="362"/>
            <ac:spMk id="154" creationId="{4EE3F4B5-C940-99CB-0115-F894F637949E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81"/>
          <ac:spMkLst>
            <pc:docMk/>
            <pc:sldMk cId="1615006347" sldId="362"/>
            <ac:spMk id="155" creationId="{D54E4DA6-39DF-BE84-F082-D240C4556515}"/>
          </ac:spMkLst>
        </pc:spChg>
        <pc:spChg chg="add del mod ord replST">
          <ac:chgData name="Tobias Brammer" userId="80a1e1bd-3b82-47a5-b259-da62a397db92" providerId="ADAL" clId="{008C3F84-4C29-4233-992B-2D26DEA7756B}" dt="2023-11-21T08:46:08.348" v="16183"/>
          <ac:spMkLst>
            <pc:docMk/>
            <pc:sldMk cId="1615006347" sldId="362"/>
            <ac:spMk id="156" creationId="{25DC41C2-11EE-B0A2-9F74-F410081C8A38}"/>
          </ac:spMkLst>
        </pc:spChg>
        <pc:spChg chg="add del mod ord replST">
          <ac:chgData name="Tobias Brammer" userId="80a1e1bd-3b82-47a5-b259-da62a397db92" providerId="ADAL" clId="{008C3F84-4C29-4233-992B-2D26DEA7756B}" dt="2023-11-21T08:46:08.333" v="16162"/>
          <ac:spMkLst>
            <pc:docMk/>
            <pc:sldMk cId="1615006347" sldId="362"/>
            <ac:spMk id="157" creationId="{CCDAD261-3B73-F2EB-9303-051A6809D7C1}"/>
          </ac:spMkLst>
        </pc:spChg>
        <pc:spChg chg="add del mod replST">
          <ac:chgData name="Tobias Brammer" userId="80a1e1bd-3b82-47a5-b259-da62a397db92" providerId="ADAL" clId="{008C3F84-4C29-4233-992B-2D26DEA7756B}" dt="2023-11-21T08:46:08.333" v="16163"/>
          <ac:spMkLst>
            <pc:docMk/>
            <pc:sldMk cId="1615006347" sldId="362"/>
            <ac:spMk id="158" creationId="{EB030400-F921-1517-ED2A-45BDCC273DEA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41"/>
          <ac:spMkLst>
            <pc:docMk/>
            <pc:sldMk cId="1615006347" sldId="362"/>
            <ac:spMk id="159" creationId="{41672331-9953-FC6D-1A6E-DA7D7854ED26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44"/>
          <ac:spMkLst>
            <pc:docMk/>
            <pc:sldMk cId="1615006347" sldId="362"/>
            <ac:spMk id="160" creationId="{BCD49B9C-3069-1412-6615-09E4B0A70073}"/>
          </ac:spMkLst>
        </pc:spChg>
        <pc:spChg chg="add del mod ord replST">
          <ac:chgData name="Tobias Brammer" userId="80a1e1bd-3b82-47a5-b259-da62a397db92" providerId="ADAL" clId="{008C3F84-4C29-4233-992B-2D26DEA7756B}" dt="2023-11-21T08:46:08.380" v="16243"/>
          <ac:spMkLst>
            <pc:docMk/>
            <pc:sldMk cId="1615006347" sldId="362"/>
            <ac:spMk id="161" creationId="{4847032B-635C-3063-1DCE-8FF10595B2DA}"/>
          </ac:spMkLst>
        </pc:spChg>
        <pc:spChg chg="add del mod ord replST">
          <ac:chgData name="Tobias Brammer" userId="80a1e1bd-3b82-47a5-b259-da62a397db92" providerId="ADAL" clId="{008C3F84-4C29-4233-992B-2D26DEA7756B}" dt="2023-11-21T08:46:08.395" v="16247"/>
          <ac:spMkLst>
            <pc:docMk/>
            <pc:sldMk cId="1615006347" sldId="362"/>
            <ac:spMk id="162" creationId="{38176E07-49FC-1AA4-A538-694821A5AD10}"/>
          </ac:spMkLst>
        </pc:spChg>
        <pc:spChg chg="add del mod ord replST">
          <ac:chgData name="Tobias Brammer" userId="80a1e1bd-3b82-47a5-b259-da62a397db92" providerId="ADAL" clId="{008C3F84-4C29-4233-992B-2D26DEA7756B}" dt="2023-11-21T08:46:08.395" v="16250"/>
          <ac:spMkLst>
            <pc:docMk/>
            <pc:sldMk cId="1615006347" sldId="362"/>
            <ac:spMk id="163" creationId="{A1FA363D-3D5F-0B3B-ED65-A24173621933}"/>
          </ac:spMkLst>
        </pc:spChg>
        <pc:spChg chg="add del mod replST">
          <ac:chgData name="Tobias Brammer" userId="80a1e1bd-3b82-47a5-b259-da62a397db92" providerId="ADAL" clId="{008C3F84-4C29-4233-992B-2D26DEA7756B}" dt="2023-11-21T08:46:08.380" v="16245"/>
          <ac:spMkLst>
            <pc:docMk/>
            <pc:sldMk cId="1615006347" sldId="362"/>
            <ac:spMk id="164" creationId="{8BE47C55-7C4A-6AF3-8479-25C1265DE0FE}"/>
          </ac:spMkLst>
        </pc:spChg>
        <pc:spChg chg="add del mod replST">
          <ac:chgData name="Tobias Brammer" userId="80a1e1bd-3b82-47a5-b259-da62a397db92" providerId="ADAL" clId="{008C3F84-4C29-4233-992B-2D26DEA7756B}" dt="2023-11-21T08:46:08.395" v="16248"/>
          <ac:spMkLst>
            <pc:docMk/>
            <pc:sldMk cId="1615006347" sldId="362"/>
            <ac:spMk id="165" creationId="{17F98E77-E249-177D-A84E-3ABD4FDAAB3E}"/>
          </ac:spMkLst>
        </pc:spChg>
        <pc:spChg chg="add del mod replST">
          <ac:chgData name="Tobias Brammer" userId="80a1e1bd-3b82-47a5-b259-da62a397db92" providerId="ADAL" clId="{008C3F84-4C29-4233-992B-2D26DEA7756B}" dt="2023-11-21T08:46:08.395" v="16251"/>
          <ac:spMkLst>
            <pc:docMk/>
            <pc:sldMk cId="1615006347" sldId="362"/>
            <ac:spMk id="166" creationId="{EE893D8B-B534-0F91-5632-195575C555DB}"/>
          </ac:spMkLst>
        </pc:spChg>
        <pc:spChg chg="add del mod modVis">
          <ac:chgData name="Tobias Brammer" userId="80a1e1bd-3b82-47a5-b259-da62a397db92" providerId="ADAL" clId="{008C3F84-4C29-4233-992B-2D26DEA7756B}" dt="2023-11-21T08:43:08.324" v="15760"/>
          <ac:spMkLst>
            <pc:docMk/>
            <pc:sldMk cId="1615006347" sldId="362"/>
            <ac:spMk id="167" creationId="{7137D077-6F3E-288B-41EE-3346A5B4C2D6}"/>
          </ac:spMkLst>
        </pc:spChg>
        <pc:spChg chg="add del mod ord replST">
          <ac:chgData name="Tobias Brammer" userId="80a1e1bd-3b82-47a5-b259-da62a397db92" providerId="ADAL" clId="{008C3F84-4C29-4233-992B-2D26DEA7756B}" dt="2023-11-21T08:46:08.364" v="16197"/>
          <ac:spMkLst>
            <pc:docMk/>
            <pc:sldMk cId="1615006347" sldId="362"/>
            <ac:spMk id="168" creationId="{3D4967B4-0380-D9FE-5057-BFEABEFFE9B6}"/>
          </ac:spMkLst>
        </pc:spChg>
        <pc:spChg chg="add del mod replST">
          <ac:chgData name="Tobias Brammer" userId="80a1e1bd-3b82-47a5-b259-da62a397db92" providerId="ADAL" clId="{008C3F84-4C29-4233-992B-2D26DEA7756B}" dt="2023-11-21T08:46:08.364" v="16198"/>
          <ac:spMkLst>
            <pc:docMk/>
            <pc:sldMk cId="1615006347" sldId="362"/>
            <ac:spMk id="169" creationId="{086256BD-BC79-DF36-0C1C-FBFEDD630501}"/>
          </ac:spMkLst>
        </pc:spChg>
        <pc:graphicFrameChg chg="add del mod">
          <ac:chgData name="Tobias Brammer" userId="80a1e1bd-3b82-47a5-b259-da62a397db92" providerId="ADAL" clId="{008C3F84-4C29-4233-992B-2D26DEA7756B}" dt="2023-11-21T08:29:58.774" v="4293" actId="478"/>
          <ac:graphicFrameMkLst>
            <pc:docMk/>
            <pc:sldMk cId="1615006347" sldId="362"/>
            <ac:graphicFrameMk id="3" creationId="{F3AAB8D2-C14F-3FC0-DC1E-61FE2CF5EAAD}"/>
          </ac:graphicFrameMkLst>
        </pc:graphicFrameChg>
        <pc:graphicFrameChg chg="mod">
          <ac:chgData name="Tobias Brammer" userId="80a1e1bd-3b82-47a5-b259-da62a397db92" providerId="ADAL" clId="{008C3F84-4C29-4233-992B-2D26DEA7756B}" dt="2023-11-21T08:46:08.411" v="16256"/>
          <ac:graphicFrameMkLst>
            <pc:docMk/>
            <pc:sldMk cId="1615006347" sldId="362"/>
            <ac:graphicFrameMk id="4" creationId="{79C05AFC-9555-D40C-AD9D-3E13BD0A4FC2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0:49.741" v="4301" actId="478"/>
          <ac:graphicFrameMkLst>
            <pc:docMk/>
            <pc:sldMk cId="1615006347" sldId="362"/>
            <ac:graphicFrameMk id="6" creationId="{BDE69E2E-396D-3D50-A60E-A7DAB90CF06E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0:59.320" v="4304" actId="478"/>
          <ac:graphicFrameMkLst>
            <pc:docMk/>
            <pc:sldMk cId="1615006347" sldId="362"/>
            <ac:graphicFrameMk id="7" creationId="{551644F5-6071-A757-AAC2-169E6A3A5E89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8:39.302" v="4359" actId="478"/>
          <ac:graphicFrameMkLst>
            <pc:docMk/>
            <pc:sldMk cId="1615006347" sldId="362"/>
            <ac:graphicFrameMk id="10" creationId="{280A25E3-20F3-20F4-4E6F-186CEAE2C30A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3:34.437" v="4321"/>
          <ac:graphicFrameMkLst>
            <pc:docMk/>
            <pc:sldMk cId="1615006347" sldId="362"/>
            <ac:graphicFrameMk id="11" creationId="{5CB4FE3B-617A-B904-AB56-BA0B1215841A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4:42.219" v="4336" actId="478"/>
          <ac:graphicFrameMkLst>
            <pc:docMk/>
            <pc:sldMk cId="1615006347" sldId="362"/>
            <ac:graphicFrameMk id="13" creationId="{55FE0516-283C-0C0A-A7C4-9165CAA591C0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5:16.251" v="4348"/>
          <ac:graphicFrameMkLst>
            <pc:docMk/>
            <pc:sldMk cId="1615006347" sldId="362"/>
            <ac:graphicFrameMk id="14" creationId="{FFA52B33-9CBD-8492-47B0-D507DDC43049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7:13.052" v="4355" actId="478"/>
          <ac:graphicFrameMkLst>
            <pc:docMk/>
            <pc:sldMk cId="1615006347" sldId="362"/>
            <ac:graphicFrameMk id="15" creationId="{2D6EA6F2-D35F-589E-5D87-97B76DC80FB6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1T08:38:51.623" v="4363" actId="478"/>
          <ac:graphicFrameMkLst>
            <pc:docMk/>
            <pc:sldMk cId="1615006347" sldId="362"/>
            <ac:graphicFrameMk id="16" creationId="{7813C424-8DBA-AA59-C72F-27AF01EEA738}"/>
          </ac:graphicFrameMkLst>
        </pc:graphicFrameChg>
        <pc:picChg chg="del">
          <ac:chgData name="Tobias Brammer" userId="80a1e1bd-3b82-47a5-b259-da62a397db92" providerId="ADAL" clId="{008C3F84-4C29-4233-992B-2D26DEA7756B}" dt="2023-11-21T08:24:08.486" v="4237" actId="478"/>
          <ac:picMkLst>
            <pc:docMk/>
            <pc:sldMk cId="1615006347" sldId="362"/>
            <ac:picMk id="12" creationId="{BC45735F-E063-4678-D02A-CBB56F461006}"/>
          </ac:picMkLst>
        </pc:picChg>
      </pc:sldChg>
      <pc:sldChg chg="addSp delSp modSp add mod">
        <pc:chgData name="Tobias Brammer" userId="80a1e1bd-3b82-47a5-b259-da62a397db92" providerId="ADAL" clId="{008C3F84-4C29-4233-992B-2D26DEA7756B}" dt="2023-12-08T10:26:48.746" v="27644"/>
        <pc:sldMkLst>
          <pc:docMk/>
          <pc:sldMk cId="3070627113" sldId="362"/>
        </pc:sldMkLst>
        <pc:spChg chg="add mod">
          <ac:chgData name="Tobias Brammer" userId="80a1e1bd-3b82-47a5-b259-da62a397db92" providerId="ADAL" clId="{008C3F84-4C29-4233-992B-2D26DEA7756B}" dt="2023-12-08T10:26:48.746" v="27644"/>
          <ac:spMkLst>
            <pc:docMk/>
            <pc:sldMk cId="3070627113" sldId="362"/>
            <ac:spMk id="5" creationId="{BF322977-1E75-F537-F24A-DE10BF1C75C1}"/>
          </ac:spMkLst>
        </pc:spChg>
        <pc:spChg chg="mod">
          <ac:chgData name="Tobias Brammer" userId="80a1e1bd-3b82-47a5-b259-da62a397db92" providerId="ADAL" clId="{008C3F84-4C29-4233-992B-2D26DEA7756B}" dt="2023-11-22T14:27:52.012" v="26659" actId="113"/>
          <ac:spMkLst>
            <pc:docMk/>
            <pc:sldMk cId="3070627113" sldId="362"/>
            <ac:spMk id="8" creationId="{9974A259-DC86-27AE-073B-E1B517848965}"/>
          </ac:spMkLst>
        </pc:spChg>
        <pc:grpChg chg="add mod">
          <ac:chgData name="Tobias Brammer" userId="80a1e1bd-3b82-47a5-b259-da62a397db92" providerId="ADAL" clId="{008C3F84-4C29-4233-992B-2D26DEA7756B}" dt="2023-11-22T14:25:48.500" v="26638" actId="1036"/>
          <ac:grpSpMkLst>
            <pc:docMk/>
            <pc:sldMk cId="3070627113" sldId="362"/>
            <ac:grpSpMk id="3" creationId="{B760D819-5E2D-99F9-4BB7-60578F8433A6}"/>
          </ac:grpSpMkLst>
        </pc:grpChg>
        <pc:grpChg chg="mod">
          <ac:chgData name="Tobias Brammer" userId="80a1e1bd-3b82-47a5-b259-da62a397db92" providerId="ADAL" clId="{008C3F84-4C29-4233-992B-2D26DEA7756B}" dt="2023-11-22T14:25:47.594" v="26636"/>
          <ac:grpSpMkLst>
            <pc:docMk/>
            <pc:sldMk cId="3070627113" sldId="362"/>
            <ac:grpSpMk id="6" creationId="{794332D7-8AC5-5D66-ABE2-4F2018704350}"/>
          </ac:grpSpMkLst>
        </pc:grpChg>
        <pc:grpChg chg="mod">
          <ac:chgData name="Tobias Brammer" userId="80a1e1bd-3b82-47a5-b259-da62a397db92" providerId="ADAL" clId="{008C3F84-4C29-4233-992B-2D26DEA7756B}" dt="2023-11-22T14:25:47.594" v="26636"/>
          <ac:grpSpMkLst>
            <pc:docMk/>
            <pc:sldMk cId="3070627113" sldId="362"/>
            <ac:grpSpMk id="7" creationId="{BC33C93E-F2CF-BBC1-E003-ECF659E89C82}"/>
          </ac:grpSpMkLst>
        </pc:grpChg>
        <pc:picChg chg="del">
          <ac:chgData name="Tobias Brammer" userId="80a1e1bd-3b82-47a5-b259-da62a397db92" providerId="ADAL" clId="{008C3F84-4C29-4233-992B-2D26DEA7756B}" dt="2023-11-22T14:25:46.755" v="26635" actId="478"/>
          <ac:picMkLst>
            <pc:docMk/>
            <pc:sldMk cId="3070627113" sldId="362"/>
            <ac:picMk id="5" creationId="{CFB3962C-F4C4-2511-16B0-8E9661D3FAE8}"/>
          </ac:picMkLst>
        </pc:picChg>
        <pc:picChg chg="mod">
          <ac:chgData name="Tobias Brammer" userId="80a1e1bd-3b82-47a5-b259-da62a397db92" providerId="ADAL" clId="{008C3F84-4C29-4233-992B-2D26DEA7756B}" dt="2023-11-22T14:25:47.594" v="26636"/>
          <ac:picMkLst>
            <pc:docMk/>
            <pc:sldMk cId="3070627113" sldId="362"/>
            <ac:picMk id="9" creationId="{767C2237-AC66-E1D0-7DF9-A048B21B4ED9}"/>
          </ac:picMkLst>
        </pc:picChg>
        <pc:picChg chg="mod">
          <ac:chgData name="Tobias Brammer" userId="80a1e1bd-3b82-47a5-b259-da62a397db92" providerId="ADAL" clId="{008C3F84-4C29-4233-992B-2D26DEA7756B}" dt="2023-11-22T14:25:47.594" v="26636"/>
          <ac:picMkLst>
            <pc:docMk/>
            <pc:sldMk cId="3070627113" sldId="362"/>
            <ac:picMk id="10" creationId="{3C9EA09E-E0DB-76FD-85B0-CAFEFD72DA7E}"/>
          </ac:picMkLst>
        </pc:picChg>
        <pc:picChg chg="mod">
          <ac:chgData name="Tobias Brammer" userId="80a1e1bd-3b82-47a5-b259-da62a397db92" providerId="ADAL" clId="{008C3F84-4C29-4233-992B-2D26DEA7756B}" dt="2023-11-22T14:25:47.594" v="26636"/>
          <ac:picMkLst>
            <pc:docMk/>
            <pc:sldMk cId="3070627113" sldId="362"/>
            <ac:picMk id="11" creationId="{779CF768-0325-D6EF-0E98-286DB1FD58CB}"/>
          </ac:picMkLst>
        </pc:picChg>
        <pc:picChg chg="mod">
          <ac:chgData name="Tobias Brammer" userId="80a1e1bd-3b82-47a5-b259-da62a397db92" providerId="ADAL" clId="{008C3F84-4C29-4233-992B-2D26DEA7756B}" dt="2023-11-22T14:25:47.594" v="26636"/>
          <ac:picMkLst>
            <pc:docMk/>
            <pc:sldMk cId="3070627113" sldId="362"/>
            <ac:picMk id="13" creationId="{086BB64F-507F-96B0-C30D-563A8BCE90D6}"/>
          </ac:picMkLst>
        </pc:picChg>
      </pc:sldChg>
      <pc:sldChg chg="add del modNotesTx">
        <pc:chgData name="Tobias Brammer" userId="80a1e1bd-3b82-47a5-b259-da62a397db92" providerId="ADAL" clId="{008C3F84-4C29-4233-992B-2D26DEA7756B}" dt="2023-11-22T09:49:24.213" v="21977" actId="47"/>
        <pc:sldMkLst>
          <pc:docMk/>
          <pc:sldMk cId="1372186167" sldId="363"/>
        </pc:sldMkLst>
      </pc:sldChg>
      <pc:sldChg chg="addSp delSp modSp add mod modTransition modShow">
        <pc:chgData name="Tobias Brammer" userId="80a1e1bd-3b82-47a5-b259-da62a397db92" providerId="ADAL" clId="{008C3F84-4C29-4233-992B-2D26DEA7756B}" dt="2023-12-08T07:02:39.624" v="27154" actId="2711"/>
        <pc:sldMkLst>
          <pc:docMk/>
          <pc:sldMk cId="235674796" sldId="364"/>
        </pc:sldMkLst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8" creationId="{0576E1AC-95E7-92B3-F696-3D2A14753903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9" creationId="{E9BD0B23-178C-AC98-727C-20DC54AD968D}"/>
          </ac:spMkLst>
        </pc:spChg>
        <pc:spChg chg="mod">
          <ac:chgData name="Tobias Brammer" userId="80a1e1bd-3b82-47a5-b259-da62a397db92" providerId="ADAL" clId="{008C3F84-4C29-4233-992B-2D26DEA7756B}" dt="2023-12-08T07:02:39.624" v="27154" actId="2711"/>
          <ac:spMkLst>
            <pc:docMk/>
            <pc:sldMk cId="235674796" sldId="364"/>
            <ac:spMk id="10" creationId="{6123F9E9-4EDA-8639-0B90-4D3A855C3D7A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1" creationId="{84A9990C-48CA-840C-0260-0A9D285216B7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2" creationId="{9C901F3E-996B-8A6C-0C3C-D883A460B803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3" creationId="{C1647C01-3CA8-28A2-7121-B639EC7593BD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4" creationId="{AA1D4499-D718-B10E-D57E-44B35F36A7F3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5" creationId="{D726165E-F080-3B74-B1EC-76DDAC068256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6" creationId="{1A02FAFD-7DFA-6351-D48C-6D8DC39842BC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7" creationId="{57A9FA3E-EB71-84CF-F047-33077DAF0CF4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8" creationId="{EA17F798-0E3B-9564-DB92-C0FB3F01619F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19" creationId="{1EB3E8AB-F1C3-7F76-05B7-0A8111C08DDE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0" creationId="{9217CF16-B68D-1D79-6DD2-D3418D7B91E7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1" creationId="{5E062866-C361-671C-DE77-A2553C7BE5C7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2" creationId="{23C4ACD4-A439-316F-58DC-2B6B63F9CA1D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3" creationId="{08360487-A980-E11A-6855-FD0D8C23BDF2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4" creationId="{ACE36EC8-894E-3037-22BD-EA8F6CCB3012}"/>
          </ac:spMkLst>
        </pc:spChg>
        <pc:spChg chg="mod">
          <ac:chgData name="Tobias Brammer" userId="80a1e1bd-3b82-47a5-b259-da62a397db92" providerId="ADAL" clId="{008C3F84-4C29-4233-992B-2D26DEA7756B}" dt="2023-11-22T08:24:13.891" v="19449" actId="18245"/>
          <ac:spMkLst>
            <pc:docMk/>
            <pc:sldMk cId="235674796" sldId="364"/>
            <ac:spMk id="25" creationId="{94DB9C94-E29D-55B7-A048-8E5817E20C58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27" creationId="{26E3C25E-716D-8D1F-1D1D-A2E2149D7A77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28" creationId="{5206E16E-D6D0-CD81-EEFE-314E8A06EF4B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29" creationId="{89FE57C3-7A95-EA6B-312C-027758A8EA1A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0" creationId="{F37D206A-1D86-FFAA-CB4A-205360271EDF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1" creationId="{077FD3EA-C63E-9D06-5019-AEB1B9D87BE4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2" creationId="{F15D48E2-5DAA-94F7-994B-39A7D0BEE898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3" creationId="{D66BB891-D043-9FC2-B718-BAAB4D19B95F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4" creationId="{9F40452B-AEFD-8173-7F25-3857F91FC01B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5" creationId="{22C214EA-DF2F-3240-6097-CF1850AFC665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6" creationId="{A60F26C6-1F2B-803D-0EE6-F6EC5FFC79FD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7" creationId="{039E6CD4-8072-32E3-138F-685ADED1ADC0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8" creationId="{11298FD7-C9CE-02D0-D595-4A757FD8E75A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39" creationId="{DDD66691-20D5-208B-D44C-1B8D4AD29CC8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0" creationId="{8977EE18-E866-055F-584C-BE1FFACDB2C0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1" creationId="{A0CE5E68-69E6-D60D-91E5-366BE5B5822D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2" creationId="{0EBAFA16-5428-06D2-1750-C64761990E5A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3" creationId="{E097D745-6D89-39BB-C07D-F001692468CF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4" creationId="{8DF52694-4A69-A0F0-E1C7-E241503842B5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5" creationId="{ED274FC7-532B-B80A-8AD6-D6B28F4CBC6C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6" creationId="{2C357048-C200-101C-02B5-CF370691EEB2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7" creationId="{89D91166-086B-1DE0-191D-A0CA779161A9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8" creationId="{E93A5604-64C2-FF78-3A5A-43B8B4ABDD8F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49" creationId="{40999C9A-3958-55A8-AD86-41E45F1FBBD7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0" creationId="{13C90784-4193-05F7-23E0-176BB1673B27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1" creationId="{613A9C6C-AEFC-1182-C77B-549E7E66E1BE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2" creationId="{16B6463C-FFA8-F5A4-E700-E99D043E4136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3" creationId="{4BB8F0EC-4FF9-58F5-08F2-E21A2DBD6FB2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4" creationId="{11C0307C-F035-5030-F936-D540C3D23AE9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5" creationId="{F2E4655E-FB43-A50E-D49A-4AB3FA22FAC5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6" creationId="{F17E9AEF-B661-8E2C-C222-883DEEADD413}"/>
          </ac:spMkLst>
        </pc:spChg>
        <pc:spChg chg="mod">
          <ac:chgData name="Tobias Brammer" userId="80a1e1bd-3b82-47a5-b259-da62a397db92" providerId="ADAL" clId="{008C3F84-4C29-4233-992B-2D26DEA7756B}" dt="2023-11-22T08:24:17.494" v="19450" actId="18245"/>
          <ac:spMkLst>
            <pc:docMk/>
            <pc:sldMk cId="235674796" sldId="364"/>
            <ac:spMk id="57" creationId="{3CCD1BAF-8F4B-4601-BDAE-95AF88B2E034}"/>
          </ac:spMkLst>
        </pc:spChg>
        <pc:spChg chg="add mod">
          <ac:chgData name="Tobias Brammer" userId="80a1e1bd-3b82-47a5-b259-da62a397db92" providerId="ADAL" clId="{008C3F84-4C29-4233-992B-2D26DEA7756B}" dt="2023-11-22T08:34:30.250" v="19913" actId="12788"/>
          <ac:spMkLst>
            <pc:docMk/>
            <pc:sldMk cId="235674796" sldId="364"/>
            <ac:spMk id="59" creationId="{50C0398A-C47D-8FD7-7032-6A581F013A69}"/>
          </ac:spMkLst>
        </pc:spChg>
        <pc:spChg chg="add mod">
          <ac:chgData name="Tobias Brammer" userId="80a1e1bd-3b82-47a5-b259-da62a397db92" providerId="ADAL" clId="{008C3F84-4C29-4233-992B-2D26DEA7756B}" dt="2023-11-22T08:56:05.950" v="20906" actId="2085"/>
          <ac:spMkLst>
            <pc:docMk/>
            <pc:sldMk cId="235674796" sldId="364"/>
            <ac:spMk id="1034" creationId="{DC4B78E7-1C8F-7CBF-253B-4071E1E3DAB3}"/>
          </ac:spMkLst>
        </pc:spChg>
        <pc:grpChg chg="mod">
          <ac:chgData name="Tobias Brammer" userId="80a1e1bd-3b82-47a5-b259-da62a397db92" providerId="ADAL" clId="{008C3F84-4C29-4233-992B-2D26DEA7756B}" dt="2023-11-22T08:24:23.075" v="19451" actId="1076"/>
          <ac:grpSpMkLst>
            <pc:docMk/>
            <pc:sldMk cId="235674796" sldId="364"/>
            <ac:grpSpMk id="7" creationId="{C904598B-EC22-26E1-9F66-CAF863E3524E}"/>
          </ac:grpSpMkLst>
        </pc:grpChg>
        <pc:grpChg chg="del">
          <ac:chgData name="Tobias Brammer" userId="80a1e1bd-3b82-47a5-b259-da62a397db92" providerId="ADAL" clId="{008C3F84-4C29-4233-992B-2D26DEA7756B}" dt="2023-11-22T07:58:33.649" v="18812" actId="478"/>
          <ac:grpSpMkLst>
            <pc:docMk/>
            <pc:sldMk cId="235674796" sldId="364"/>
            <ac:grpSpMk id="11" creationId="{0F58D1DA-222B-74C6-297E-33EBF5B6B9EA}"/>
          </ac:grpSpMkLst>
        </pc:grpChg>
        <pc:grpChg chg="mod">
          <ac:chgData name="Tobias Brammer" userId="80a1e1bd-3b82-47a5-b259-da62a397db92" providerId="ADAL" clId="{008C3F84-4C29-4233-992B-2D26DEA7756B}" dt="2023-11-22T08:24:44.235" v="19462" actId="1037"/>
          <ac:grpSpMkLst>
            <pc:docMk/>
            <pc:sldMk cId="235674796" sldId="364"/>
            <ac:grpSpMk id="26" creationId="{C5271702-E4C9-108A-1920-A0FD05FA156E}"/>
          </ac:grpSpMkLst>
        </pc:grpChg>
        <pc:graphicFrameChg chg="add del mod modGraphic">
          <ac:chgData name="Tobias Brammer" userId="80a1e1bd-3b82-47a5-b259-da62a397db92" providerId="ADAL" clId="{008C3F84-4C29-4233-992B-2D26DEA7756B}" dt="2023-11-22T08:24:13.891" v="19449" actId="18245"/>
          <ac:graphicFrameMkLst>
            <pc:docMk/>
            <pc:sldMk cId="235674796" sldId="364"/>
            <ac:graphicFrameMk id="5" creationId="{E8998D80-189B-87A2-84DA-D35DBA88235D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2T08:24:17.494" v="19450" actId="18245"/>
          <ac:graphicFrameMkLst>
            <pc:docMk/>
            <pc:sldMk cId="235674796" sldId="364"/>
            <ac:graphicFrameMk id="6" creationId="{5413A875-97D1-C9B4-C8CE-B6FB3A96F509}"/>
          </ac:graphicFrameMkLst>
        </pc:graphicFrameChg>
        <pc:graphicFrameChg chg="add del mod">
          <ac:chgData name="Tobias Brammer" userId="80a1e1bd-3b82-47a5-b259-da62a397db92" providerId="ADAL" clId="{008C3F84-4C29-4233-992B-2D26DEA7756B}" dt="2023-11-22T08:26:01.226" v="19483" actId="478"/>
          <ac:graphicFrameMkLst>
            <pc:docMk/>
            <pc:sldMk cId="235674796" sldId="364"/>
            <ac:graphicFrameMk id="58" creationId="{DA5B5521-CBB6-D858-F709-190B23FD9B6D}"/>
          </ac:graphicFrameMkLst>
        </pc:graphicFrameChg>
        <pc:picChg chg="add del">
          <ac:chgData name="Tobias Brammer" userId="80a1e1bd-3b82-47a5-b259-da62a397db92" providerId="ADAL" clId="{008C3F84-4C29-4233-992B-2D26DEA7756B}" dt="2023-11-22T08:17:10.785" v="19343"/>
          <ac:picMkLst>
            <pc:docMk/>
            <pc:sldMk cId="235674796" sldId="364"/>
            <ac:picMk id="3" creationId="{06E9FB96-71C7-0768-96DE-383CF0CC4F9C}"/>
          </ac:picMkLst>
        </pc:picChg>
        <pc:picChg chg="add del mod">
          <ac:chgData name="Tobias Brammer" userId="80a1e1bd-3b82-47a5-b259-da62a397db92" providerId="ADAL" clId="{008C3F84-4C29-4233-992B-2D26DEA7756B}" dt="2023-11-22T08:17:07.326" v="19341" actId="478"/>
          <ac:picMkLst>
            <pc:docMk/>
            <pc:sldMk cId="235674796" sldId="364"/>
            <ac:picMk id="1026" creationId="{F3C81A17-0A32-6932-578B-A5058FA3D880}"/>
          </ac:picMkLst>
        </pc:picChg>
        <pc:picChg chg="add del mod">
          <ac:chgData name="Tobias Brammer" userId="80a1e1bd-3b82-47a5-b259-da62a397db92" providerId="ADAL" clId="{008C3F84-4C29-4233-992B-2D26DEA7756B}" dt="2023-11-22T08:20:48.892" v="19374" actId="478"/>
          <ac:picMkLst>
            <pc:docMk/>
            <pc:sldMk cId="235674796" sldId="364"/>
            <ac:picMk id="1028" creationId="{C2C0C621-B687-2F4D-9AE6-E4E3DB8B3E53}"/>
          </ac:picMkLst>
        </pc:picChg>
        <pc:cxnChg chg="add mod">
          <ac:chgData name="Tobias Brammer" userId="80a1e1bd-3b82-47a5-b259-da62a397db92" providerId="ADAL" clId="{008C3F84-4C29-4233-992B-2D26DEA7756B}" dt="2023-11-22T08:28:04.824" v="19517" actId="554"/>
          <ac:cxnSpMkLst>
            <pc:docMk/>
            <pc:sldMk cId="235674796" sldId="364"/>
            <ac:cxnSpMk id="61" creationId="{C475EDC0-7D53-CEA3-A065-441D450B649E}"/>
          </ac:cxnSpMkLst>
        </pc:cxnChg>
        <pc:cxnChg chg="add del mod">
          <ac:chgData name="Tobias Brammer" userId="80a1e1bd-3b82-47a5-b259-da62a397db92" providerId="ADAL" clId="{008C3F84-4C29-4233-992B-2D26DEA7756B}" dt="2023-11-22T08:27:54.959" v="19504" actId="478"/>
          <ac:cxnSpMkLst>
            <pc:docMk/>
            <pc:sldMk cId="235674796" sldId="364"/>
            <ac:cxnSpMk id="62" creationId="{7820DCA4-AC7B-1FDC-FA1F-A92197B7052E}"/>
          </ac:cxnSpMkLst>
        </pc:cxnChg>
        <pc:cxnChg chg="add mod">
          <ac:chgData name="Tobias Brammer" userId="80a1e1bd-3b82-47a5-b259-da62a397db92" providerId="ADAL" clId="{008C3F84-4C29-4233-992B-2D26DEA7756B}" dt="2023-11-22T08:28:19.364" v="19572" actId="1038"/>
          <ac:cxnSpMkLst>
            <pc:docMk/>
            <pc:sldMk cId="235674796" sldId="364"/>
            <ac:cxnSpMk id="1031" creationId="{4C3A17C5-F0C4-A67F-5AB3-02810827A66D}"/>
          </ac:cxnSpMkLst>
        </pc:cxnChg>
        <pc:cxnChg chg="add mod">
          <ac:chgData name="Tobias Brammer" userId="80a1e1bd-3b82-47a5-b259-da62a397db92" providerId="ADAL" clId="{008C3F84-4C29-4233-992B-2D26DEA7756B}" dt="2023-11-22T08:28:38.540" v="19667" actId="196"/>
          <ac:cxnSpMkLst>
            <pc:docMk/>
            <pc:sldMk cId="235674796" sldId="364"/>
            <ac:cxnSpMk id="1032" creationId="{EADFF351-E456-1C71-6D5C-E658A063858A}"/>
          </ac:cxnSpMkLst>
        </pc:cxnChg>
        <pc:cxnChg chg="add mod">
          <ac:chgData name="Tobias Brammer" userId="80a1e1bd-3b82-47a5-b259-da62a397db92" providerId="ADAL" clId="{008C3F84-4C29-4233-992B-2D26DEA7756B}" dt="2023-11-22T08:28:38.540" v="19667" actId="196"/>
          <ac:cxnSpMkLst>
            <pc:docMk/>
            <pc:sldMk cId="235674796" sldId="364"/>
            <ac:cxnSpMk id="1033" creationId="{BCB52A13-6A94-C29B-72AA-F6ACE2A0237F}"/>
          </ac:cxnSpMkLst>
        </pc:cxnChg>
      </pc:sldChg>
      <pc:sldChg chg="addSp delSp modSp add mod modTransition modShow">
        <pc:chgData name="Tobias Brammer" userId="80a1e1bd-3b82-47a5-b259-da62a397db92" providerId="ADAL" clId="{008C3F84-4C29-4233-992B-2D26DEA7756B}" dt="2023-12-08T07:03:03.250" v="27158" actId="2711"/>
        <pc:sldMkLst>
          <pc:docMk/>
          <pc:sldMk cId="2910588931" sldId="365"/>
        </pc:sldMkLst>
        <pc:spChg chg="mod">
          <ac:chgData name="Tobias Brammer" userId="80a1e1bd-3b82-47a5-b259-da62a397db92" providerId="ADAL" clId="{008C3F84-4C29-4233-992B-2D26DEA7756B}" dt="2023-12-08T07:03:03.250" v="27158" actId="2711"/>
          <ac:spMkLst>
            <pc:docMk/>
            <pc:sldMk cId="2910588931" sldId="365"/>
            <ac:spMk id="10" creationId="{6123F9E9-4EDA-8639-0B90-4D3A855C3D7A}"/>
          </ac:spMkLst>
        </pc:spChg>
        <pc:grpChg chg="mod">
          <ac:chgData name="Tobias Brammer" userId="80a1e1bd-3b82-47a5-b259-da62a397db92" providerId="ADAL" clId="{008C3F84-4C29-4233-992B-2D26DEA7756B}" dt="2023-11-22T08:09:07.013" v="19137" actId="1076"/>
          <ac:grpSpMkLst>
            <pc:docMk/>
            <pc:sldMk cId="2910588931" sldId="365"/>
            <ac:grpSpMk id="11" creationId="{0F58D1DA-222B-74C6-297E-33EBF5B6B9EA}"/>
          </ac:grpSpMkLst>
        </pc:grpChg>
        <pc:picChg chg="mod replST">
          <ac:chgData name="Tobias Brammer" userId="80a1e1bd-3b82-47a5-b259-da62a397db92" providerId="ADAL" clId="{008C3F84-4C29-4233-992B-2D26DEA7756B}" dt="2023-11-22T08:09:22.416" v="19140" actId="1076"/>
          <ac:picMkLst>
            <pc:docMk/>
            <pc:sldMk cId="2910588931" sldId="365"/>
            <ac:picMk id="7" creationId="{515F9809-1FC2-E6B6-7857-D179DF6CA871}"/>
          </ac:picMkLst>
        </pc:picChg>
        <pc:picChg chg="add del mod">
          <ac:chgData name="Tobias Brammer" userId="80a1e1bd-3b82-47a5-b259-da62a397db92" providerId="ADAL" clId="{008C3F84-4C29-4233-992B-2D26DEA7756B}" dt="2023-11-22T08:07:10.232" v="18926" actId="478"/>
          <ac:picMkLst>
            <pc:docMk/>
            <pc:sldMk cId="2910588931" sldId="365"/>
            <ac:picMk id="12" creationId="{BF262A61-C18A-E3FA-BB98-351B93DFA643}"/>
          </ac:picMkLst>
        </pc:picChg>
        <pc:picChg chg="mod ord replST">
          <ac:chgData name="Tobias Brammer" userId="80a1e1bd-3b82-47a5-b259-da62a397db92" providerId="ADAL" clId="{008C3F84-4C29-4233-992B-2D26DEA7756B}" dt="2023-11-22T08:09:18.403" v="19139" actId="1076"/>
          <ac:picMkLst>
            <pc:docMk/>
            <pc:sldMk cId="2910588931" sldId="365"/>
            <ac:picMk id="14" creationId="{F0C8CE49-B851-2BD9-295A-7D1ABEFCAAF0}"/>
          </ac:picMkLst>
        </pc:picChg>
        <pc:picChg chg="add del mod">
          <ac:chgData name="Tobias Brammer" userId="80a1e1bd-3b82-47a5-b259-da62a397db92" providerId="ADAL" clId="{008C3F84-4C29-4233-992B-2D26DEA7756B}" dt="2023-11-22T08:10:38.486" v="19203"/>
          <ac:picMkLst>
            <pc:docMk/>
            <pc:sldMk cId="2910588931" sldId="365"/>
            <ac:picMk id="15" creationId="{82393979-7873-9465-EA57-E3363A1ED9CB}"/>
          </ac:picMkLst>
        </pc:picChg>
      </pc:sldChg>
      <pc:sldChg chg="addSp delSp modSp add mod modTransition modShow">
        <pc:chgData name="Tobias Brammer" userId="80a1e1bd-3b82-47a5-b259-da62a397db92" providerId="ADAL" clId="{008C3F84-4C29-4233-992B-2D26DEA7756B}" dt="2023-12-08T07:02:33.970" v="27153" actId="2711"/>
        <pc:sldMkLst>
          <pc:docMk/>
          <pc:sldMk cId="2990617177" sldId="366"/>
        </pc:sldMkLst>
        <pc:spChg chg="add del">
          <ac:chgData name="Tobias Brammer" userId="80a1e1bd-3b82-47a5-b259-da62a397db92" providerId="ADAL" clId="{008C3F84-4C29-4233-992B-2D26DEA7756B}" dt="2023-11-22T08:39:56.166" v="20031" actId="22"/>
          <ac:spMkLst>
            <pc:docMk/>
            <pc:sldMk cId="2990617177" sldId="366"/>
            <ac:spMk id="5" creationId="{0252AC8E-801C-0591-0D48-EF4283804037}"/>
          </ac:spMkLst>
        </pc:spChg>
        <pc:spChg chg="mod">
          <ac:chgData name="Tobias Brammer" userId="80a1e1bd-3b82-47a5-b259-da62a397db92" providerId="ADAL" clId="{008C3F84-4C29-4233-992B-2D26DEA7756B}" dt="2023-12-08T07:02:33.970" v="27153" actId="2711"/>
          <ac:spMkLst>
            <pc:docMk/>
            <pc:sldMk cId="2990617177" sldId="366"/>
            <ac:spMk id="10" creationId="{6123F9E9-4EDA-8639-0B90-4D3A855C3D7A}"/>
          </ac:spMkLst>
        </pc:spChg>
        <pc:spChg chg="mod">
          <ac:chgData name="Tobias Brammer" userId="80a1e1bd-3b82-47a5-b259-da62a397db92" providerId="ADAL" clId="{008C3F84-4C29-4233-992B-2D26DEA7756B}" dt="2023-11-22T08:55:57.916" v="20905" actId="2085"/>
          <ac:spMkLst>
            <pc:docMk/>
            <pc:sldMk cId="2990617177" sldId="366"/>
            <ac:spMk id="1034" creationId="{DC4B78E7-1C8F-7CBF-253B-4071E1E3DAB3}"/>
          </ac:spMkLst>
        </pc:spChg>
      </pc:sldChg>
      <pc:sldChg chg="addSp delSp modSp add del mod">
        <pc:chgData name="Tobias Brammer" userId="80a1e1bd-3b82-47a5-b259-da62a397db92" providerId="ADAL" clId="{008C3F84-4C29-4233-992B-2D26DEA7756B}" dt="2023-11-22T08:56:42.437" v="20931" actId="47"/>
        <pc:sldMkLst>
          <pc:docMk/>
          <pc:sldMk cId="2443742583" sldId="367"/>
        </pc:sldMkLst>
        <pc:spChg chg="mod">
          <ac:chgData name="Tobias Brammer" userId="80a1e1bd-3b82-47a5-b259-da62a397db92" providerId="ADAL" clId="{008C3F84-4C29-4233-992B-2D26DEA7756B}" dt="2023-11-22T08:40:03.942" v="20051" actId="20577"/>
          <ac:spMkLst>
            <pc:docMk/>
            <pc:sldMk cId="2443742583" sldId="367"/>
            <ac:spMk id="10" creationId="{6123F9E9-4EDA-8639-0B90-4D3A855C3D7A}"/>
          </ac:spMkLst>
        </pc:spChg>
        <pc:spChg chg="del">
          <ac:chgData name="Tobias Brammer" userId="80a1e1bd-3b82-47a5-b259-da62a397db92" providerId="ADAL" clId="{008C3F84-4C29-4233-992B-2D26DEA7756B}" dt="2023-11-22T08:42:47.608" v="20052" actId="478"/>
          <ac:spMkLst>
            <pc:docMk/>
            <pc:sldMk cId="2443742583" sldId="367"/>
            <ac:spMk id="59" creationId="{50C0398A-C47D-8FD7-7032-6A581F013A69}"/>
          </ac:spMkLst>
        </pc:spChg>
        <pc:spChg chg="del">
          <ac:chgData name="Tobias Brammer" userId="80a1e1bd-3b82-47a5-b259-da62a397db92" providerId="ADAL" clId="{008C3F84-4C29-4233-992B-2D26DEA7756B}" dt="2023-11-22T08:42:47.608" v="20052" actId="478"/>
          <ac:spMkLst>
            <pc:docMk/>
            <pc:sldMk cId="2443742583" sldId="367"/>
            <ac:spMk id="1034" creationId="{DC4B78E7-1C8F-7CBF-253B-4071E1E3DAB3}"/>
          </ac:spMkLst>
        </pc:spChg>
        <pc:grpChg chg="del">
          <ac:chgData name="Tobias Brammer" userId="80a1e1bd-3b82-47a5-b259-da62a397db92" providerId="ADAL" clId="{008C3F84-4C29-4233-992B-2D26DEA7756B}" dt="2023-11-22T08:42:47.608" v="20052" actId="478"/>
          <ac:grpSpMkLst>
            <pc:docMk/>
            <pc:sldMk cId="2443742583" sldId="367"/>
            <ac:grpSpMk id="7" creationId="{C904598B-EC22-26E1-9F66-CAF863E3524E}"/>
          </ac:grpSpMkLst>
        </pc:grpChg>
        <pc:grpChg chg="del">
          <ac:chgData name="Tobias Brammer" userId="80a1e1bd-3b82-47a5-b259-da62a397db92" providerId="ADAL" clId="{008C3F84-4C29-4233-992B-2D26DEA7756B}" dt="2023-11-22T08:42:47.608" v="20052" actId="478"/>
          <ac:grpSpMkLst>
            <pc:docMk/>
            <pc:sldMk cId="2443742583" sldId="367"/>
            <ac:grpSpMk id="26" creationId="{C5271702-E4C9-108A-1920-A0FD05FA156E}"/>
          </ac:grpSpMkLst>
        </pc:grpChg>
        <pc:picChg chg="add mod">
          <ac:chgData name="Tobias Brammer" userId="80a1e1bd-3b82-47a5-b259-da62a397db92" providerId="ADAL" clId="{008C3F84-4C29-4233-992B-2D26DEA7756B}" dt="2023-11-22T08:42:52.831" v="20054" actId="1076"/>
          <ac:picMkLst>
            <pc:docMk/>
            <pc:sldMk cId="2443742583" sldId="367"/>
            <ac:picMk id="2050" creationId="{A0FFF199-4142-750E-C3D9-B1359D1F39EA}"/>
          </ac:picMkLst>
        </pc:picChg>
        <pc:cxnChg chg="del">
          <ac:chgData name="Tobias Brammer" userId="80a1e1bd-3b82-47a5-b259-da62a397db92" providerId="ADAL" clId="{008C3F84-4C29-4233-992B-2D26DEA7756B}" dt="2023-11-22T08:42:47.608" v="20052" actId="478"/>
          <ac:cxnSpMkLst>
            <pc:docMk/>
            <pc:sldMk cId="2443742583" sldId="367"/>
            <ac:cxnSpMk id="61" creationId="{C475EDC0-7D53-CEA3-A065-441D450B649E}"/>
          </ac:cxnSpMkLst>
        </pc:cxnChg>
        <pc:cxnChg chg="del">
          <ac:chgData name="Tobias Brammer" userId="80a1e1bd-3b82-47a5-b259-da62a397db92" providerId="ADAL" clId="{008C3F84-4C29-4233-992B-2D26DEA7756B}" dt="2023-11-22T08:42:47.608" v="20052" actId="478"/>
          <ac:cxnSpMkLst>
            <pc:docMk/>
            <pc:sldMk cId="2443742583" sldId="367"/>
            <ac:cxnSpMk id="1031" creationId="{4C3A17C5-F0C4-A67F-5AB3-02810827A66D}"/>
          </ac:cxnSpMkLst>
        </pc:cxnChg>
        <pc:cxnChg chg="del">
          <ac:chgData name="Tobias Brammer" userId="80a1e1bd-3b82-47a5-b259-da62a397db92" providerId="ADAL" clId="{008C3F84-4C29-4233-992B-2D26DEA7756B}" dt="2023-11-22T08:42:47.608" v="20052" actId="478"/>
          <ac:cxnSpMkLst>
            <pc:docMk/>
            <pc:sldMk cId="2443742583" sldId="367"/>
            <ac:cxnSpMk id="1032" creationId="{EADFF351-E456-1C71-6D5C-E658A063858A}"/>
          </ac:cxnSpMkLst>
        </pc:cxnChg>
        <pc:cxnChg chg="del">
          <ac:chgData name="Tobias Brammer" userId="80a1e1bd-3b82-47a5-b259-da62a397db92" providerId="ADAL" clId="{008C3F84-4C29-4233-992B-2D26DEA7756B}" dt="2023-11-22T08:42:47.608" v="20052" actId="478"/>
          <ac:cxnSpMkLst>
            <pc:docMk/>
            <pc:sldMk cId="2443742583" sldId="367"/>
            <ac:cxnSpMk id="1033" creationId="{BCB52A13-6A94-C29B-72AA-F6ACE2A0237F}"/>
          </ac:cxnSpMkLst>
        </pc:cxnChg>
      </pc:sldChg>
      <pc:sldChg chg="addSp delSp modSp add del mod">
        <pc:chgData name="Tobias Brammer" userId="80a1e1bd-3b82-47a5-b259-da62a397db92" providerId="ADAL" clId="{008C3F84-4C29-4233-992B-2D26DEA7756B}" dt="2023-11-22T09:13:28.704" v="20986" actId="47"/>
        <pc:sldMkLst>
          <pc:docMk/>
          <pc:sldMk cId="1813649546" sldId="368"/>
        </pc:sldMkLst>
        <pc:spChg chg="mod ord">
          <ac:chgData name="Tobias Brammer" userId="80a1e1bd-3b82-47a5-b259-da62a397db92" providerId="ADAL" clId="{008C3F84-4C29-4233-992B-2D26DEA7756B}" dt="2023-11-22T08:48:31.738" v="20642" actId="108"/>
          <ac:spMkLst>
            <pc:docMk/>
            <pc:sldMk cId="1813649546" sldId="368"/>
            <ac:spMk id="2" creationId="{F7A7B11F-5560-4450-B29C-AA36EE47DBD5}"/>
          </ac:spMkLst>
        </pc:spChg>
        <pc:spChg chg="mod ord">
          <ac:chgData name="Tobias Brammer" userId="80a1e1bd-3b82-47a5-b259-da62a397db92" providerId="ADAL" clId="{008C3F84-4C29-4233-992B-2D26DEA7756B}" dt="2023-11-22T08:55:07.141" v="20903"/>
          <ac:spMkLst>
            <pc:docMk/>
            <pc:sldMk cId="1813649546" sldId="368"/>
            <ac:spMk id="10" creationId="{6123F9E9-4EDA-8639-0B90-4D3A855C3D7A}"/>
          </ac:spMkLst>
        </pc:spChg>
        <pc:spChg chg="mod ord">
          <ac:chgData name="Tobias Brammer" userId="80a1e1bd-3b82-47a5-b259-da62a397db92" providerId="ADAL" clId="{008C3F84-4C29-4233-992B-2D26DEA7756B}" dt="2023-11-22T08:49:19.499" v="20662" actId="164"/>
          <ac:spMkLst>
            <pc:docMk/>
            <pc:sldMk cId="1813649546" sldId="368"/>
            <ac:spMk id="59" creationId="{50C0398A-C47D-8FD7-7032-6A581F013A69}"/>
          </ac:spMkLst>
        </pc:spChg>
        <pc:spChg chg="add mod">
          <ac:chgData name="Tobias Brammer" userId="80a1e1bd-3b82-47a5-b259-da62a397db92" providerId="ADAL" clId="{008C3F84-4C29-4233-992B-2D26DEA7756B}" dt="2023-11-22T08:56:20.253" v="20907" actId="164"/>
          <ac:spMkLst>
            <pc:docMk/>
            <pc:sldMk cId="1813649546" sldId="368"/>
            <ac:spMk id="1027" creationId="{81191FD9-FBED-CF41-1E3B-C8FA29BC7C45}"/>
          </ac:spMkLst>
        </pc:spChg>
        <pc:spChg chg="del mod">
          <ac:chgData name="Tobias Brammer" userId="80a1e1bd-3b82-47a5-b259-da62a397db92" providerId="ADAL" clId="{008C3F84-4C29-4233-992B-2D26DEA7756B}" dt="2023-11-22T08:46:18.325" v="20190" actId="478"/>
          <ac:spMkLst>
            <pc:docMk/>
            <pc:sldMk cId="1813649546" sldId="368"/>
            <ac:spMk id="1034" creationId="{DC4B78E7-1C8F-7CBF-253B-4071E1E3DAB3}"/>
          </ac:spMkLst>
        </pc:spChg>
        <pc:grpChg chg="mod ord">
          <ac:chgData name="Tobias Brammer" userId="80a1e1bd-3b82-47a5-b259-da62a397db92" providerId="ADAL" clId="{008C3F84-4C29-4233-992B-2D26DEA7756B}" dt="2023-11-22T08:49:19.499" v="20662" actId="164"/>
          <ac:grpSpMkLst>
            <pc:docMk/>
            <pc:sldMk cId="1813649546" sldId="368"/>
            <ac:grpSpMk id="7" creationId="{C904598B-EC22-26E1-9F66-CAF863E3524E}"/>
          </ac:grpSpMkLst>
        </pc:grpChg>
        <pc:grpChg chg="mod ord">
          <ac:chgData name="Tobias Brammer" userId="80a1e1bd-3b82-47a5-b259-da62a397db92" providerId="ADAL" clId="{008C3F84-4C29-4233-992B-2D26DEA7756B}" dt="2023-11-22T08:49:19.499" v="20662" actId="164"/>
          <ac:grpSpMkLst>
            <pc:docMk/>
            <pc:sldMk cId="1813649546" sldId="368"/>
            <ac:grpSpMk id="26" creationId="{C5271702-E4C9-108A-1920-A0FD05FA156E}"/>
          </ac:grpSpMkLst>
        </pc:grpChg>
        <pc:grpChg chg="add mod">
          <ac:chgData name="Tobias Brammer" userId="80a1e1bd-3b82-47a5-b259-da62a397db92" providerId="ADAL" clId="{008C3F84-4C29-4233-992B-2D26DEA7756B}" dt="2023-11-22T08:56:20.253" v="20907" actId="164"/>
          <ac:grpSpMkLst>
            <pc:docMk/>
            <pc:sldMk cId="1813649546" sldId="368"/>
            <ac:grpSpMk id="1026" creationId="{873167F7-34C3-BD20-A5D7-DD8A5CB19525}"/>
          </ac:grpSpMkLst>
        </pc:grpChg>
        <pc:grpChg chg="add mod">
          <ac:chgData name="Tobias Brammer" userId="80a1e1bd-3b82-47a5-b259-da62a397db92" providerId="ADAL" clId="{008C3F84-4C29-4233-992B-2D26DEA7756B}" dt="2023-11-22T08:56:24.157" v="20930" actId="1037"/>
          <ac:grpSpMkLst>
            <pc:docMk/>
            <pc:sldMk cId="1813649546" sldId="368"/>
            <ac:grpSpMk id="1037" creationId="{D0BDC632-9774-3720-F779-75AC3B4C7B34}"/>
          </ac:grpSpMkLst>
        </pc:grpChg>
        <pc:graphicFrameChg chg="mod">
          <ac:chgData name="Tobias Brammer" userId="80a1e1bd-3b82-47a5-b259-da62a397db92" providerId="ADAL" clId="{008C3F84-4C29-4233-992B-2D26DEA7756B}" dt="2023-11-22T08:48:22.126" v="20640"/>
          <ac:graphicFrameMkLst>
            <pc:docMk/>
            <pc:sldMk cId="1813649546" sldId="368"/>
            <ac:graphicFrameMk id="4" creationId="{79C05AFC-9555-D40C-AD9D-3E13BD0A4FC2}"/>
          </ac:graphicFrameMkLst>
        </pc:graphicFrameChg>
        <pc:cxnChg chg="del">
          <ac:chgData name="Tobias Brammer" userId="80a1e1bd-3b82-47a5-b259-da62a397db92" providerId="ADAL" clId="{008C3F84-4C29-4233-992B-2D26DEA7756B}" dt="2023-11-22T08:45:43.083" v="20179" actId="478"/>
          <ac:cxnSpMkLst>
            <pc:docMk/>
            <pc:sldMk cId="1813649546" sldId="368"/>
            <ac:cxnSpMk id="61" creationId="{C475EDC0-7D53-CEA3-A065-441D450B649E}"/>
          </ac:cxnSpMkLst>
        </pc:cxnChg>
        <pc:cxnChg chg="add mod ord">
          <ac:chgData name="Tobias Brammer" userId="80a1e1bd-3b82-47a5-b259-da62a397db92" providerId="ADAL" clId="{008C3F84-4C29-4233-992B-2D26DEA7756B}" dt="2023-11-22T08:49:19.499" v="20662" actId="164"/>
          <ac:cxnSpMkLst>
            <pc:docMk/>
            <pc:sldMk cId="1813649546" sldId="368"/>
            <ac:cxnSpMk id="63" creationId="{45359961-6FF2-DE32-D479-1B277FFFCD66}"/>
          </ac:cxnSpMkLst>
        </pc:cxnChg>
        <pc:cxnChg chg="add del mod">
          <ac:chgData name="Tobias Brammer" userId="80a1e1bd-3b82-47a5-b259-da62a397db92" providerId="ADAL" clId="{008C3F84-4C29-4233-992B-2D26DEA7756B}" dt="2023-11-22T08:52:41.063" v="20762" actId="478"/>
          <ac:cxnSpMkLst>
            <pc:docMk/>
            <pc:sldMk cId="1813649546" sldId="368"/>
            <ac:cxnSpMk id="1028" creationId="{7BEA04C0-DC31-7AEF-14DF-C4A36733D496}"/>
          </ac:cxnSpMkLst>
        </pc:cxnChg>
        <pc:cxnChg chg="add mod">
          <ac:chgData name="Tobias Brammer" userId="80a1e1bd-3b82-47a5-b259-da62a397db92" providerId="ADAL" clId="{008C3F84-4C29-4233-992B-2D26DEA7756B}" dt="2023-11-22T08:56:20.253" v="20907" actId="164"/>
          <ac:cxnSpMkLst>
            <pc:docMk/>
            <pc:sldMk cId="1813649546" sldId="368"/>
            <ac:cxnSpMk id="1029" creationId="{6DCC2AF1-D8B2-313E-7A05-4AC7546F1598}"/>
          </ac:cxnSpMkLst>
        </pc:cxnChg>
        <pc:cxnChg chg="mod ord">
          <ac:chgData name="Tobias Brammer" userId="80a1e1bd-3b82-47a5-b259-da62a397db92" providerId="ADAL" clId="{008C3F84-4C29-4233-992B-2D26DEA7756B}" dt="2023-11-22T08:49:19.499" v="20662" actId="164"/>
          <ac:cxnSpMkLst>
            <pc:docMk/>
            <pc:sldMk cId="1813649546" sldId="368"/>
            <ac:cxnSpMk id="1031" creationId="{4C3A17C5-F0C4-A67F-5AB3-02810827A66D}"/>
          </ac:cxnSpMkLst>
        </pc:cxnChg>
        <pc:cxnChg chg="del mod">
          <ac:chgData name="Tobias Brammer" userId="80a1e1bd-3b82-47a5-b259-da62a397db92" providerId="ADAL" clId="{008C3F84-4C29-4233-992B-2D26DEA7756B}" dt="2023-11-22T08:47:25.465" v="20199" actId="478"/>
          <ac:cxnSpMkLst>
            <pc:docMk/>
            <pc:sldMk cId="1813649546" sldId="368"/>
            <ac:cxnSpMk id="1032" creationId="{EADFF351-E456-1C71-6D5C-E658A063858A}"/>
          </ac:cxnSpMkLst>
        </pc:cxnChg>
        <pc:cxnChg chg="mod ord">
          <ac:chgData name="Tobias Brammer" userId="80a1e1bd-3b82-47a5-b259-da62a397db92" providerId="ADAL" clId="{008C3F84-4C29-4233-992B-2D26DEA7756B}" dt="2023-11-22T08:49:19.499" v="20662" actId="164"/>
          <ac:cxnSpMkLst>
            <pc:docMk/>
            <pc:sldMk cId="1813649546" sldId="368"/>
            <ac:cxnSpMk id="1033" creationId="{BCB52A13-6A94-C29B-72AA-F6ACE2A0237F}"/>
          </ac:cxnSpMkLst>
        </pc:cxnChg>
      </pc:sldChg>
      <pc:sldChg chg="addSp delSp modSp add mod modTransition modShow">
        <pc:chgData name="Tobias Brammer" userId="80a1e1bd-3b82-47a5-b259-da62a397db92" providerId="ADAL" clId="{008C3F84-4C29-4233-992B-2D26DEA7756B}" dt="2023-12-08T07:02:26.770" v="27152" actId="2711"/>
        <pc:sldMkLst>
          <pc:docMk/>
          <pc:sldMk cId="2488036055" sldId="369"/>
        </pc:sldMkLst>
        <pc:spChg chg="add del mod">
          <ac:chgData name="Tobias Brammer" userId="80a1e1bd-3b82-47a5-b259-da62a397db92" providerId="ADAL" clId="{008C3F84-4C29-4233-992B-2D26DEA7756B}" dt="2023-11-22T10:04:35.909" v="22340"/>
          <ac:spMkLst>
            <pc:docMk/>
            <pc:sldMk cId="2488036055" sldId="369"/>
            <ac:spMk id="3" creationId="{FBE0A2FE-B669-A6AA-F4AC-7C04557C14A9}"/>
          </ac:spMkLst>
        </pc:spChg>
        <pc:spChg chg="mod">
          <ac:chgData name="Tobias Brammer" userId="80a1e1bd-3b82-47a5-b259-da62a397db92" providerId="ADAL" clId="{008C3F84-4C29-4233-992B-2D26DEA7756B}" dt="2023-12-08T07:02:26.770" v="27152" actId="2711"/>
          <ac:spMkLst>
            <pc:docMk/>
            <pc:sldMk cId="2488036055" sldId="369"/>
            <ac:spMk id="10" creationId="{6123F9E9-4EDA-8639-0B90-4D3A855C3D7A}"/>
          </ac:spMkLst>
        </pc:spChg>
        <pc:cxnChg chg="add mod">
          <ac:chgData name="Tobias Brammer" userId="80a1e1bd-3b82-47a5-b259-da62a397db92" providerId="ADAL" clId="{008C3F84-4C29-4233-992B-2D26DEA7756B}" dt="2023-11-22T13:00:04.141" v="25531" actId="14100"/>
          <ac:cxnSpMkLst>
            <pc:docMk/>
            <pc:sldMk cId="2488036055" sldId="369"/>
            <ac:cxnSpMk id="5" creationId="{BF8746F2-8AA7-8A44-E180-87959334745C}"/>
          </ac:cxnSpMkLst>
        </pc:cxnChg>
        <pc:cxnChg chg="del">
          <ac:chgData name="Tobias Brammer" userId="80a1e1bd-3b82-47a5-b259-da62a397db92" providerId="ADAL" clId="{008C3F84-4C29-4233-992B-2D26DEA7756B}" dt="2023-11-22T12:59:57.354" v="25530" actId="478"/>
          <ac:cxnSpMkLst>
            <pc:docMk/>
            <pc:sldMk cId="2488036055" sldId="369"/>
            <ac:cxnSpMk id="1031" creationId="{4C3A17C5-F0C4-A67F-5AB3-02810827A66D}"/>
          </ac:cxnSpMkLst>
        </pc:cxnChg>
        <pc:cxnChg chg="mod">
          <ac:chgData name="Tobias Brammer" userId="80a1e1bd-3b82-47a5-b259-da62a397db92" providerId="ADAL" clId="{008C3F84-4C29-4233-992B-2D26DEA7756B}" dt="2023-11-22T13:00:29.397" v="25532" actId="208"/>
          <ac:cxnSpMkLst>
            <pc:docMk/>
            <pc:sldMk cId="2488036055" sldId="369"/>
            <ac:cxnSpMk id="1033" creationId="{BCB52A13-6A94-C29B-72AA-F6ACE2A0237F}"/>
          </ac:cxnSpMkLst>
        </pc:cxnChg>
      </pc:sldChg>
      <pc:sldChg chg="addSp delSp modSp add mod modTransition modShow">
        <pc:chgData name="Tobias Brammer" userId="80a1e1bd-3b82-47a5-b259-da62a397db92" providerId="ADAL" clId="{008C3F84-4C29-4233-992B-2D26DEA7756B}" dt="2023-12-08T07:01:57.905" v="27150" actId="2711"/>
        <pc:sldMkLst>
          <pc:docMk/>
          <pc:sldMk cId="4130124227" sldId="370"/>
        </pc:sldMkLst>
        <pc:spChg chg="mod">
          <ac:chgData name="Tobias Brammer" userId="80a1e1bd-3b82-47a5-b259-da62a397db92" providerId="ADAL" clId="{008C3F84-4C29-4233-992B-2D26DEA7756B}" dt="2023-11-22T09:26:42.085" v="21400" actId="1076"/>
          <ac:spMkLst>
            <pc:docMk/>
            <pc:sldMk cId="4130124227" sldId="370"/>
            <ac:spMk id="2" creationId="{F7A7B11F-5560-4450-B29C-AA36EE47DBD5}"/>
          </ac:spMkLst>
        </pc:spChg>
        <pc:spChg chg="add mod">
          <ac:chgData name="Tobias Brammer" userId="80a1e1bd-3b82-47a5-b259-da62a397db92" providerId="ADAL" clId="{008C3F84-4C29-4233-992B-2D26DEA7756B}" dt="2023-11-22T09:26:34.279" v="21389" actId="164"/>
          <ac:spMkLst>
            <pc:docMk/>
            <pc:sldMk cId="4130124227" sldId="370"/>
            <ac:spMk id="3" creationId="{A607CE15-77DC-4354-D08C-49398CB5EA23}"/>
          </ac:spMkLst>
        </pc:spChg>
        <pc:spChg chg="add mod">
          <ac:chgData name="Tobias Brammer" userId="80a1e1bd-3b82-47a5-b259-da62a397db92" providerId="ADAL" clId="{008C3F84-4C29-4233-992B-2D26DEA7756B}" dt="2023-11-22T09:26:34.279" v="21389" actId="164"/>
          <ac:spMkLst>
            <pc:docMk/>
            <pc:sldMk cId="4130124227" sldId="370"/>
            <ac:spMk id="5" creationId="{C778B124-FD45-7673-0C93-685721C3053F}"/>
          </ac:spMkLst>
        </pc:spChg>
        <pc:spChg chg="add mod">
          <ac:chgData name="Tobias Brammer" userId="80a1e1bd-3b82-47a5-b259-da62a397db92" providerId="ADAL" clId="{008C3F84-4C29-4233-992B-2D26DEA7756B}" dt="2023-11-22T09:26:34.279" v="21389" actId="164"/>
          <ac:spMkLst>
            <pc:docMk/>
            <pc:sldMk cId="4130124227" sldId="370"/>
            <ac:spMk id="6" creationId="{09131AA7-1C7D-1327-8333-7208A5565FF5}"/>
          </ac:spMkLst>
        </pc:spChg>
        <pc:spChg chg="mod">
          <ac:chgData name="Tobias Brammer" userId="80a1e1bd-3b82-47a5-b259-da62a397db92" providerId="ADAL" clId="{008C3F84-4C29-4233-992B-2D26DEA7756B}" dt="2023-12-08T07:01:57.905" v="27150" actId="2711"/>
          <ac:spMkLst>
            <pc:docMk/>
            <pc:sldMk cId="4130124227" sldId="370"/>
            <ac:spMk id="10" creationId="{6123F9E9-4EDA-8639-0B90-4D3A855C3D7A}"/>
          </ac:spMkLst>
        </pc:spChg>
        <pc:spChg chg="add mod">
          <ac:chgData name="Tobias Brammer" userId="80a1e1bd-3b82-47a5-b259-da62a397db92" providerId="ADAL" clId="{008C3F84-4C29-4233-992B-2D26DEA7756B}" dt="2023-11-22T10:06:27.192" v="22345" actId="208"/>
          <ac:spMkLst>
            <pc:docMk/>
            <pc:sldMk cId="4130124227" sldId="370"/>
            <ac:spMk id="58" creationId="{A7CB8557-D5CC-D00E-901E-8F8736AE5252}"/>
          </ac:spMkLst>
        </pc:spChg>
        <pc:spChg chg="add mod">
          <ac:chgData name="Tobias Brammer" userId="80a1e1bd-3b82-47a5-b259-da62a397db92" providerId="ADAL" clId="{008C3F84-4C29-4233-992B-2D26DEA7756B}" dt="2023-11-22T10:06:33.928" v="22346" actId="108"/>
          <ac:spMkLst>
            <pc:docMk/>
            <pc:sldMk cId="4130124227" sldId="370"/>
            <ac:spMk id="60" creationId="{03D5531F-66E6-7F5D-38BC-696A82C51B86}"/>
          </ac:spMkLst>
        </pc:spChg>
        <pc:spChg chg="add mod">
          <ac:chgData name="Tobias Brammer" userId="80a1e1bd-3b82-47a5-b259-da62a397db92" providerId="ADAL" clId="{008C3F84-4C29-4233-992B-2D26DEA7756B}" dt="2023-11-22T10:06:39.049" v="22347" actId="108"/>
          <ac:spMkLst>
            <pc:docMk/>
            <pc:sldMk cId="4130124227" sldId="370"/>
            <ac:spMk id="61" creationId="{D88122D5-8A05-646A-CB00-0C5889DA2933}"/>
          </ac:spMkLst>
        </pc:spChg>
        <pc:spChg chg="add mod">
          <ac:chgData name="Tobias Brammer" userId="80a1e1bd-3b82-47a5-b259-da62a397db92" providerId="ADAL" clId="{008C3F84-4C29-4233-992B-2D26DEA7756B}" dt="2023-11-22T10:06:41.797" v="22348" actId="108"/>
          <ac:spMkLst>
            <pc:docMk/>
            <pc:sldMk cId="4130124227" sldId="370"/>
            <ac:spMk id="62" creationId="{D3662890-D53C-4C74-2AA9-FC099BA2C2AF}"/>
          </ac:spMkLst>
        </pc:spChg>
        <pc:spChg chg="add mod">
          <ac:chgData name="Tobias Brammer" userId="80a1e1bd-3b82-47a5-b259-da62a397db92" providerId="ADAL" clId="{008C3F84-4C29-4233-992B-2D26DEA7756B}" dt="2023-11-22T10:06:45.167" v="22349" actId="108"/>
          <ac:spMkLst>
            <pc:docMk/>
            <pc:sldMk cId="4130124227" sldId="370"/>
            <ac:spMk id="4096" creationId="{984EEB3A-A3A2-348D-2255-2C95CB4D2BBB}"/>
          </ac:spMkLst>
        </pc:spChg>
        <pc:spChg chg="add mod">
          <ac:chgData name="Tobias Brammer" userId="80a1e1bd-3b82-47a5-b259-da62a397db92" providerId="ADAL" clId="{008C3F84-4C29-4233-992B-2D26DEA7756B}" dt="2023-11-22T10:08:48.893" v="22357" actId="207"/>
          <ac:spMkLst>
            <pc:docMk/>
            <pc:sldMk cId="4130124227" sldId="370"/>
            <ac:spMk id="4097" creationId="{78C7DE56-65E2-8B99-DC50-B90DB1E8D241}"/>
          </ac:spMkLst>
        </pc:spChg>
        <pc:spChg chg="add mod">
          <ac:chgData name="Tobias Brammer" userId="80a1e1bd-3b82-47a5-b259-da62a397db92" providerId="ADAL" clId="{008C3F84-4C29-4233-992B-2D26DEA7756B}" dt="2023-11-22T10:08:57.737" v="22358" actId="108"/>
          <ac:spMkLst>
            <pc:docMk/>
            <pc:sldMk cId="4130124227" sldId="370"/>
            <ac:spMk id="4099" creationId="{79EDCB9E-7FB1-50D6-F272-9D6A738D69B6}"/>
          </ac:spMkLst>
        </pc:spChg>
        <pc:spChg chg="add mod">
          <ac:chgData name="Tobias Brammer" userId="80a1e1bd-3b82-47a5-b259-da62a397db92" providerId="ADAL" clId="{008C3F84-4C29-4233-992B-2D26DEA7756B}" dt="2023-11-22T10:09:00.822" v="22359" actId="108"/>
          <ac:spMkLst>
            <pc:docMk/>
            <pc:sldMk cId="4130124227" sldId="370"/>
            <ac:spMk id="4101" creationId="{DA334387-F3D8-ACCA-AD12-31E35F0FFFBD}"/>
          </ac:spMkLst>
        </pc:spChg>
        <pc:spChg chg="add mod">
          <ac:chgData name="Tobias Brammer" userId="80a1e1bd-3b82-47a5-b259-da62a397db92" providerId="ADAL" clId="{008C3F84-4C29-4233-992B-2D26DEA7756B}" dt="2023-11-22T10:09:04.658" v="22360" actId="108"/>
          <ac:spMkLst>
            <pc:docMk/>
            <pc:sldMk cId="4130124227" sldId="370"/>
            <ac:spMk id="4102" creationId="{86E56B54-873B-06B3-8F6D-DE7CE2738464}"/>
          </ac:spMkLst>
        </pc:spChg>
        <pc:spChg chg="add del mod">
          <ac:chgData name="Tobias Brammer" userId="80a1e1bd-3b82-47a5-b259-da62a397db92" providerId="ADAL" clId="{008C3F84-4C29-4233-992B-2D26DEA7756B}" dt="2023-11-22T09:17:41.272" v="21129" actId="478"/>
          <ac:spMkLst>
            <pc:docMk/>
            <pc:sldMk cId="4130124227" sldId="370"/>
            <ac:spMk id="4103" creationId="{882369E8-5F3C-C4B3-DCFC-10BCD0F5FAFA}"/>
          </ac:spMkLst>
        </pc:spChg>
        <pc:spChg chg="add del mod">
          <ac:chgData name="Tobias Brammer" userId="80a1e1bd-3b82-47a5-b259-da62a397db92" providerId="ADAL" clId="{008C3F84-4C29-4233-992B-2D26DEA7756B}" dt="2023-11-22T09:17:41.272" v="21129" actId="478"/>
          <ac:spMkLst>
            <pc:docMk/>
            <pc:sldMk cId="4130124227" sldId="370"/>
            <ac:spMk id="4104" creationId="{6D1D9B16-9A4E-E29E-BF25-F1DCD6D4B43B}"/>
          </ac:spMkLst>
        </pc:spChg>
        <pc:spChg chg="add mod">
          <ac:chgData name="Tobias Brammer" userId="80a1e1bd-3b82-47a5-b259-da62a397db92" providerId="ADAL" clId="{008C3F84-4C29-4233-992B-2D26DEA7756B}" dt="2023-11-22T09:26:34.279" v="21389" actId="164"/>
          <ac:spMkLst>
            <pc:docMk/>
            <pc:sldMk cId="4130124227" sldId="370"/>
            <ac:spMk id="4105" creationId="{4443F5BF-2166-3C9A-B08E-7BC00891EA0E}"/>
          </ac:spMkLst>
        </pc:spChg>
        <pc:spChg chg="add del">
          <ac:chgData name="Tobias Brammer" userId="80a1e1bd-3b82-47a5-b259-da62a397db92" providerId="ADAL" clId="{008C3F84-4C29-4233-992B-2D26DEA7756B}" dt="2023-11-22T09:19:43.834" v="21145" actId="478"/>
          <ac:spMkLst>
            <pc:docMk/>
            <pc:sldMk cId="4130124227" sldId="370"/>
            <ac:spMk id="4107" creationId="{CE82F58A-E6A7-AB94-2041-AD0FEC6CFD45}"/>
          </ac:spMkLst>
        </pc:spChg>
        <pc:spChg chg="add mod">
          <ac:chgData name="Tobias Brammer" userId="80a1e1bd-3b82-47a5-b259-da62a397db92" providerId="ADAL" clId="{008C3F84-4C29-4233-992B-2D26DEA7756B}" dt="2023-11-22T14:12:21.418" v="26286" actId="164"/>
          <ac:spMkLst>
            <pc:docMk/>
            <pc:sldMk cId="4130124227" sldId="370"/>
            <ac:spMk id="4179" creationId="{0D291FA4-FC86-409E-F33C-662657141839}"/>
          </ac:spMkLst>
        </pc:spChg>
        <pc:spChg chg="add mod">
          <ac:chgData name="Tobias Brammer" userId="80a1e1bd-3b82-47a5-b259-da62a397db92" providerId="ADAL" clId="{008C3F84-4C29-4233-992B-2D26DEA7756B}" dt="2023-11-22T14:12:21.418" v="26286" actId="164"/>
          <ac:spMkLst>
            <pc:docMk/>
            <pc:sldMk cId="4130124227" sldId="370"/>
            <ac:spMk id="4180" creationId="{58CC0207-DCD9-317C-F2D4-4326B7C57890}"/>
          </ac:spMkLst>
        </pc:spChg>
        <pc:grpChg chg="add mod">
          <ac:chgData name="Tobias Brammer" userId="80a1e1bd-3b82-47a5-b259-da62a397db92" providerId="ADAL" clId="{008C3F84-4C29-4233-992B-2D26DEA7756B}" dt="2023-11-22T14:12:26.534" v="26287" actId="1076"/>
          <ac:grpSpMkLst>
            <pc:docMk/>
            <pc:sldMk cId="4130124227" sldId="370"/>
            <ac:grpSpMk id="7" creationId="{328FB98F-8AC3-F44F-5239-531B13328752}"/>
          </ac:grpSpMkLst>
        </pc:grpChg>
        <pc:grpChg chg="del">
          <ac:chgData name="Tobias Brammer" userId="80a1e1bd-3b82-47a5-b259-da62a397db92" providerId="ADAL" clId="{008C3F84-4C29-4233-992B-2D26DEA7756B}" dt="2023-11-22T09:00:22.276" v="20947" actId="478"/>
          <ac:grpSpMkLst>
            <pc:docMk/>
            <pc:sldMk cId="4130124227" sldId="370"/>
            <ac:grpSpMk id="1037" creationId="{D0BDC632-9774-3720-F779-75AC3B4C7B34}"/>
          </ac:grpSpMkLst>
        </pc:grpChg>
        <pc:grpChg chg="add mod">
          <ac:chgData name="Tobias Brammer" userId="80a1e1bd-3b82-47a5-b259-da62a397db92" providerId="ADAL" clId="{008C3F84-4C29-4233-992B-2D26DEA7756B}" dt="2023-11-22T14:12:21.418" v="26286" actId="164"/>
          <ac:grpSpMkLst>
            <pc:docMk/>
            <pc:sldMk cId="4130124227" sldId="370"/>
            <ac:grpSpMk id="4175" creationId="{B1D876A3-B5FF-C5BF-4D51-552C22A51265}"/>
          </ac:grpSpMkLst>
        </pc:grpChg>
        <pc:graphicFrameChg chg="mod">
          <ac:chgData name="Tobias Brammer" userId="80a1e1bd-3b82-47a5-b259-da62a397db92" providerId="ADAL" clId="{008C3F84-4C29-4233-992B-2D26DEA7756B}" dt="2023-11-22T09:26:42.101" v="21402"/>
          <ac:graphicFrameMkLst>
            <pc:docMk/>
            <pc:sldMk cId="4130124227" sldId="370"/>
            <ac:graphicFrameMk id="4" creationId="{79C05AFC-9555-D40C-AD9D-3E13BD0A4FC2}"/>
          </ac:graphicFrameMkLst>
        </pc:graphicFrameChg>
        <pc:picChg chg="add del mod">
          <ac:chgData name="Tobias Brammer" userId="80a1e1bd-3b82-47a5-b259-da62a397db92" providerId="ADAL" clId="{008C3F84-4C29-4233-992B-2D26DEA7756B}" dt="2023-11-22T09:01:36.291" v="20955" actId="478"/>
          <ac:picMkLst>
            <pc:docMk/>
            <pc:sldMk cId="4130124227" sldId="370"/>
            <ac:picMk id="4098" creationId="{682B8786-7B3D-6C91-3D60-3AF4A5DE749A}"/>
          </ac:picMkLst>
        </pc:picChg>
        <pc:picChg chg="add del mod">
          <ac:chgData name="Tobias Brammer" userId="80a1e1bd-3b82-47a5-b259-da62a397db92" providerId="ADAL" clId="{008C3F84-4C29-4233-992B-2D26DEA7756B}" dt="2023-11-22T09:17:29.951" v="21128" actId="478"/>
          <ac:picMkLst>
            <pc:docMk/>
            <pc:sldMk cId="4130124227" sldId="370"/>
            <ac:picMk id="4100" creationId="{D75C2929-FA43-A312-EC04-7AC63871C3BF}"/>
          </ac:picMkLst>
        </pc:picChg>
        <pc:picChg chg="add del mod">
          <ac:chgData name="Tobias Brammer" userId="80a1e1bd-3b82-47a5-b259-da62a397db92" providerId="ADAL" clId="{008C3F84-4C29-4233-992B-2D26DEA7756B}" dt="2023-11-22T09:27:12.896" v="21451" actId="478"/>
          <ac:picMkLst>
            <pc:docMk/>
            <pc:sldMk cId="4130124227" sldId="370"/>
            <ac:picMk id="4106" creationId="{A2D045FB-7A13-5722-F9AB-E99E34783728}"/>
          </ac:picMkLst>
        </pc:picChg>
        <pc:cxnChg chg="add del mod">
          <ac:chgData name="Tobias Brammer" userId="80a1e1bd-3b82-47a5-b259-da62a397db92" providerId="ADAL" clId="{008C3F84-4C29-4233-992B-2D26DEA7756B}" dt="2023-11-22T09:23:27.369" v="21315" actId="478"/>
          <ac:cxnSpMkLst>
            <pc:docMk/>
            <pc:sldMk cId="4130124227" sldId="370"/>
            <ac:cxnSpMk id="1024" creationId="{65C2FEDB-6DD5-060A-2D49-76688719A2D1}"/>
          </ac:cxnSpMkLst>
        </pc:cxnChg>
        <pc:cxnChg chg="add del mod">
          <ac:chgData name="Tobias Brammer" userId="80a1e1bd-3b82-47a5-b259-da62a397db92" providerId="ADAL" clId="{008C3F84-4C29-4233-992B-2D26DEA7756B}" dt="2023-11-22T09:23:26.072" v="21314"/>
          <ac:cxnSpMkLst>
            <pc:docMk/>
            <pc:sldMk cId="4130124227" sldId="370"/>
            <ac:cxnSpMk id="1030" creationId="{E225A5D8-875D-6D34-564D-0BAEFFE1A21A}"/>
          </ac:cxnSpMkLst>
        </pc:cxnChg>
        <pc:cxnChg chg="add del mod">
          <ac:chgData name="Tobias Brammer" userId="80a1e1bd-3b82-47a5-b259-da62a397db92" providerId="ADAL" clId="{008C3F84-4C29-4233-992B-2D26DEA7756B}" dt="2023-11-22T09:23:39.584" v="21318"/>
          <ac:cxnSpMkLst>
            <pc:docMk/>
            <pc:sldMk cId="4130124227" sldId="370"/>
            <ac:cxnSpMk id="1032" creationId="{F84E904D-44A6-4DBA-7EEB-1426DCE2818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34" creationId="{B28775F9-FBDE-0CD1-F68E-4F60E909E54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38" creationId="{D5FC52CE-963D-07BB-EEFB-55797134643D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41" creationId="{C3176485-ED9B-46AE-5F12-BFF59E940C8C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44" creationId="{4F50795E-4836-0FF2-2A71-5F7619EE33C5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47" creationId="{0D41BDDD-E199-FE0B-AA90-279D385DF294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50" creationId="{6EB7D650-548E-6D08-76BF-12DDEE3F1178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53" creationId="{0B7759C5-E572-2019-20D4-3EFDF38B3CB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56" creationId="{729FD94C-0A2F-D8BF-9F6E-378A3F876BF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59" creationId="{5E56696A-9574-4F56-F78A-705F150483F0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62" creationId="{4370AB39-C77F-5495-0392-F64E3AEB3D4E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65" creationId="{B58338FA-FC22-D539-8AF9-2F5AD0D88296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68" creationId="{1B6CE581-163F-7E60-AE9D-21130ADAA96E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71" creationId="{BB3156BF-67DD-2DE2-8AF0-4253C52D85C0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74" creationId="{8A78C38F-CB23-3454-2E2E-FFCD69CE8930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77" creationId="{B39BF03A-F962-5CC4-8332-26A76B6E921E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80" creationId="{453E5831-8989-FA51-461D-7F2D2C6B381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83" creationId="{C3A6B35B-264E-4B66-91F2-110AA1D6900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1086" creationId="{2E2D6B4D-6166-9762-B127-24063FF15842}"/>
          </ac:cxnSpMkLst>
        </pc:cxnChg>
        <pc:cxnChg chg="add mod">
          <ac:chgData name="Tobias Brammer" userId="80a1e1bd-3b82-47a5-b259-da62a397db92" providerId="ADAL" clId="{008C3F84-4C29-4233-992B-2D26DEA7756B}" dt="2023-11-22T09:27:08.481" v="21450" actId="1036"/>
          <ac:cxnSpMkLst>
            <pc:docMk/>
            <pc:sldMk cId="4130124227" sldId="370"/>
            <ac:cxnSpMk id="4109" creationId="{C2C630C7-EEBE-EB53-4DCD-9A327B90B646}"/>
          </ac:cxnSpMkLst>
        </pc:cxnChg>
        <pc:cxnChg chg="add mod">
          <ac:chgData name="Tobias Brammer" userId="80a1e1bd-3b82-47a5-b259-da62a397db92" providerId="ADAL" clId="{008C3F84-4C29-4233-992B-2D26DEA7756B}" dt="2023-11-22T09:27:01.378" v="21444" actId="1035"/>
          <ac:cxnSpMkLst>
            <pc:docMk/>
            <pc:sldMk cId="4130124227" sldId="370"/>
            <ac:cxnSpMk id="4111" creationId="{DFC816DE-7666-4A1C-8FC7-44FEA168B3F8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15" creationId="{BFC91DBC-CB57-E0B6-022E-50C43A74520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17" creationId="{EBFBF3E2-226D-46D0-F1C7-BA8356ADBC18}"/>
          </ac:cxnSpMkLst>
        </pc:cxnChg>
        <pc:cxnChg chg="add del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18" creationId="{806B13BC-1401-6160-66DF-61B9E4EA8CCE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21" creationId="{EB34D3D3-DAF9-75A8-E85F-BE9E3E5C8748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24" creationId="{0A00111E-F12A-53B8-322B-E47B40F9354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27" creationId="{71EB20B9-1874-EBAA-F10D-BAC0854779F3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30" creationId="{BCAAF416-454D-B902-17E8-A4EFEBD65BC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33" creationId="{DA98E6D9-BF81-3AC8-DF3A-C3FDC4FA91DB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36" creationId="{629D6E8C-1F88-7D71-4F69-C592E6672635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39" creationId="{A2AE075B-DFCE-4540-CF5B-086B7D612C5E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42" creationId="{B5934D66-D245-C8F8-D6FB-B28981102636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45" creationId="{1C0D4153-50E3-8B9A-398D-D443BFD0AFB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48" creationId="{7B7B2328-74F8-3FDE-4DC9-9E98B635A970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51" creationId="{BA360F60-5FD4-6242-F538-F5769FAC881F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54" creationId="{C245C473-7039-34D8-2553-A4A42DC3CA02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57" creationId="{B159B682-81C2-EB32-7FAF-BC4965328331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61" creationId="{84B1D81B-1071-1E61-92F5-EEDD0534ECDA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66" creationId="{11EA3A96-37A6-D944-7220-E11063933CC6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69" creationId="{336F7F8F-6C8A-0CA6-2060-7D4F4F8A6623}"/>
          </ac:cxnSpMkLst>
        </pc:cxnChg>
        <pc:cxnChg chg="add mod">
          <ac:chgData name="Tobias Brammer" userId="80a1e1bd-3b82-47a5-b259-da62a397db92" providerId="ADAL" clId="{008C3F84-4C29-4233-992B-2D26DEA7756B}" dt="2023-11-22T09:26:34.279" v="21389" actId="164"/>
          <ac:cxnSpMkLst>
            <pc:docMk/>
            <pc:sldMk cId="4130124227" sldId="370"/>
            <ac:cxnSpMk id="4171" creationId="{C7136E3C-5730-71CE-AD8A-1D5A4A636971}"/>
          </ac:cxnSpMkLst>
        </pc:cxnChg>
        <pc:cxnChg chg="add del mod">
          <ac:chgData name="Tobias Brammer" userId="80a1e1bd-3b82-47a5-b259-da62a397db92" providerId="ADAL" clId="{008C3F84-4C29-4233-992B-2D26DEA7756B}" dt="2023-11-22T09:27:33.181" v="21455" actId="478"/>
          <ac:cxnSpMkLst>
            <pc:docMk/>
            <pc:sldMk cId="4130124227" sldId="370"/>
            <ac:cxnSpMk id="4176" creationId="{4B1B60EF-AF78-DAE5-B4BE-8EC589CB8D86}"/>
          </ac:cxnSpMkLst>
        </pc:cxnChg>
      </pc:sldChg>
      <pc:sldChg chg="addSp delSp modSp add mod modTransition modShow">
        <pc:chgData name="Tobias Brammer" userId="80a1e1bd-3b82-47a5-b259-da62a397db92" providerId="ADAL" clId="{008C3F84-4C29-4233-992B-2D26DEA7756B}" dt="2023-12-08T07:01:50.590" v="27149" actId="2711"/>
        <pc:sldMkLst>
          <pc:docMk/>
          <pc:sldMk cId="3015269539" sldId="371"/>
        </pc:sldMkLst>
        <pc:spChg chg="mod">
          <ac:chgData name="Tobias Brammer" userId="80a1e1bd-3b82-47a5-b259-da62a397db92" providerId="ADAL" clId="{008C3F84-4C29-4233-992B-2D26DEA7756B}" dt="2023-12-08T07:01:50.590" v="27149" actId="2711"/>
          <ac:spMkLst>
            <pc:docMk/>
            <pc:sldMk cId="3015269539" sldId="371"/>
            <ac:spMk id="10" creationId="{6123F9E9-4EDA-8639-0B90-4D3A855C3D7A}"/>
          </ac:spMkLst>
        </pc:spChg>
        <pc:grpChg chg="del">
          <ac:chgData name="Tobias Brammer" userId="80a1e1bd-3b82-47a5-b259-da62a397db92" providerId="ADAL" clId="{008C3F84-4C29-4233-992B-2D26DEA7756B}" dt="2023-11-22T09:42:13.730" v="21857" actId="478"/>
          <ac:grpSpMkLst>
            <pc:docMk/>
            <pc:sldMk cId="3015269539" sldId="371"/>
            <ac:grpSpMk id="4175" creationId="{B1D876A3-B5FF-C5BF-4D51-552C22A51265}"/>
          </ac:grpSpMkLst>
        </pc:grpChg>
        <pc:picChg chg="add mod modCrop">
          <ac:chgData name="Tobias Brammer" userId="80a1e1bd-3b82-47a5-b259-da62a397db92" providerId="ADAL" clId="{008C3F84-4C29-4233-992B-2D26DEA7756B}" dt="2023-11-22T14:12:47.826" v="26291" actId="1076"/>
          <ac:picMkLst>
            <pc:docMk/>
            <pc:sldMk cId="3015269539" sldId="371"/>
            <ac:picMk id="8" creationId="{6F16AE1B-0796-E8CB-19F7-C25BEC19F437}"/>
          </ac:picMkLst>
        </pc:pic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34" creationId="{B28775F9-FBDE-0CD1-F68E-4F60E909E54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38" creationId="{D5FC52CE-963D-07BB-EEFB-55797134643D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41" creationId="{C3176485-ED9B-46AE-5F12-BFF59E940C8C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44" creationId="{4F50795E-4836-0FF2-2A71-5F7619EE33C5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47" creationId="{0D41BDDD-E199-FE0B-AA90-279D385DF294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50" creationId="{6EB7D650-548E-6D08-76BF-12DDEE3F1178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53" creationId="{0B7759C5-E572-2019-20D4-3EFDF38B3CB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56" creationId="{729FD94C-0A2F-D8BF-9F6E-378A3F876BFB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59" creationId="{5E56696A-9574-4F56-F78A-705F150483F0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62" creationId="{4370AB39-C77F-5495-0392-F64E3AEB3D4E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65" creationId="{B58338FA-FC22-D539-8AF9-2F5AD0D88296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68" creationId="{1B6CE581-163F-7E60-AE9D-21130ADAA96E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71" creationId="{BB3156BF-67DD-2DE2-8AF0-4253C52D85C0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74" creationId="{8A78C38F-CB23-3454-2E2E-FFCD69CE8930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77" creationId="{B39BF03A-F962-5CC4-8332-26A76B6E921E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80" creationId="{453E5831-8989-FA51-461D-7F2D2C6B381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83" creationId="{C3A6B35B-264E-4B66-91F2-110AA1D6900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1086" creationId="{2E2D6B4D-6166-9762-B127-24063FF1584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15" creationId="{BFC91DBC-CB57-E0B6-022E-50C43A74520B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17" creationId="{EBFBF3E2-226D-46D0-F1C7-BA8356ADBC18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18" creationId="{806B13BC-1401-6160-66DF-61B9E4EA8CCE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21" creationId="{EB34D3D3-DAF9-75A8-E85F-BE9E3E5C8748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24" creationId="{0A00111E-F12A-53B8-322B-E47B40F9354B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27" creationId="{71EB20B9-1874-EBAA-F10D-BAC0854779F3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30" creationId="{BCAAF416-454D-B902-17E8-A4EFEBD65BCB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33" creationId="{DA98E6D9-BF81-3AC8-DF3A-C3FDC4FA91DB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36" creationId="{629D6E8C-1F88-7D71-4F69-C592E6672635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39" creationId="{A2AE075B-DFCE-4540-CF5B-086B7D612C5E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42" creationId="{B5934D66-D245-C8F8-D6FB-B28981102636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45" creationId="{1C0D4153-50E3-8B9A-398D-D443BFD0AFB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48" creationId="{7B7B2328-74F8-3FDE-4DC9-9E98B635A970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51" creationId="{BA360F60-5FD4-6242-F538-F5769FAC881F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54" creationId="{C245C473-7039-34D8-2553-A4A42DC3CA02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57" creationId="{B159B682-81C2-EB32-7FAF-BC4965328331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61" creationId="{84B1D81B-1071-1E61-92F5-EEDD0534ECDA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66" creationId="{11EA3A96-37A6-D944-7220-E11063933CC6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69" creationId="{336F7F8F-6C8A-0CA6-2060-7D4F4F8A6623}"/>
          </ac:cxnSpMkLst>
        </pc:cxnChg>
        <pc:cxnChg chg="mod">
          <ac:chgData name="Tobias Brammer" userId="80a1e1bd-3b82-47a5-b259-da62a397db92" providerId="ADAL" clId="{008C3F84-4C29-4233-992B-2D26DEA7756B}" dt="2023-11-22T09:42:13.730" v="21857" actId="478"/>
          <ac:cxnSpMkLst>
            <pc:docMk/>
            <pc:sldMk cId="3015269539" sldId="371"/>
            <ac:cxnSpMk id="4171" creationId="{C7136E3C-5730-71CE-AD8A-1D5A4A636971}"/>
          </ac:cxnSpMkLst>
        </pc:cxnChg>
      </pc:sldChg>
      <pc:sldChg chg="add del">
        <pc:chgData name="Tobias Brammer" userId="80a1e1bd-3b82-47a5-b259-da62a397db92" providerId="ADAL" clId="{008C3F84-4C29-4233-992B-2D26DEA7756B}" dt="2023-11-22T09:33:49.114" v="21674" actId="47"/>
        <pc:sldMkLst>
          <pc:docMk/>
          <pc:sldMk cId="96545099" sldId="372"/>
        </pc:sldMkLst>
      </pc:sldChg>
      <pc:sldChg chg="addSp delSp modSp add del mod">
        <pc:chgData name="Tobias Brammer" userId="80a1e1bd-3b82-47a5-b259-da62a397db92" providerId="ADAL" clId="{008C3F84-4C29-4233-992B-2D26DEA7756B}" dt="2023-11-22T10:01:49.308" v="22289" actId="47"/>
        <pc:sldMkLst>
          <pc:docMk/>
          <pc:sldMk cId="1082112935" sldId="372"/>
        </pc:sldMkLst>
        <pc:spChg chg="add del mod">
          <ac:chgData name="Tobias Brammer" userId="80a1e1bd-3b82-47a5-b259-da62a397db92" providerId="ADAL" clId="{008C3F84-4C29-4233-992B-2D26DEA7756B}" dt="2023-11-22T09:59:05.715" v="22243" actId="1032"/>
          <ac:spMkLst>
            <pc:docMk/>
            <pc:sldMk cId="1082112935" sldId="372"/>
            <ac:spMk id="7" creationId="{9818F269-6FB6-CED9-7205-521A8E41339F}"/>
          </ac:spMkLst>
        </pc:spChg>
        <pc:graphicFrameChg chg="add del modGraphic">
          <ac:chgData name="Tobias Brammer" userId="80a1e1bd-3b82-47a5-b259-da62a397db92" providerId="ADAL" clId="{008C3F84-4C29-4233-992B-2D26DEA7756B}" dt="2023-11-22T09:58:37.581" v="22242" actId="478"/>
          <ac:graphicFrameMkLst>
            <pc:docMk/>
            <pc:sldMk cId="1082112935" sldId="372"/>
            <ac:graphicFrameMk id="3" creationId="{A6FD5744-199F-7956-C071-8852F80855A9}"/>
          </ac:graphicFrameMkLst>
        </pc:graphicFrameChg>
        <pc:graphicFrameChg chg="del">
          <ac:chgData name="Tobias Brammer" userId="80a1e1bd-3b82-47a5-b259-da62a397db92" providerId="ADAL" clId="{008C3F84-4C29-4233-992B-2D26DEA7756B}" dt="2023-11-22T09:58:25.683" v="22241" actId="478"/>
          <ac:graphicFrameMkLst>
            <pc:docMk/>
            <pc:sldMk cId="1082112935" sldId="372"/>
            <ac:graphicFrameMk id="6" creationId="{59551955-6298-1942-C3C9-BBFAA7A920D6}"/>
          </ac:graphicFrameMkLst>
        </pc:graphicFrameChg>
        <pc:graphicFrameChg chg="add mod modGraphic">
          <ac:chgData name="Tobias Brammer" userId="80a1e1bd-3b82-47a5-b259-da62a397db92" providerId="ADAL" clId="{008C3F84-4C29-4233-992B-2D26DEA7756B}" dt="2023-11-22T10:01:33.351" v="22288" actId="20577"/>
          <ac:graphicFrameMkLst>
            <pc:docMk/>
            <pc:sldMk cId="1082112935" sldId="372"/>
            <ac:graphicFrameMk id="8" creationId="{2A8BE3C2-65A2-C621-AFB7-5EE54F833E3B}"/>
          </ac:graphicFrameMkLst>
        </pc:graphicFrameChg>
      </pc:sldChg>
      <pc:sldChg chg="addSp delSp modSp add mod">
        <pc:chgData name="Tobias Brammer" userId="80a1e1bd-3b82-47a5-b259-da62a397db92" providerId="ADAL" clId="{008C3F84-4C29-4233-992B-2D26DEA7756B}" dt="2023-12-08T07:10:13.365" v="27323" actId="1035"/>
        <pc:sldMkLst>
          <pc:docMk/>
          <pc:sldMk cId="4133577339" sldId="372"/>
        </pc:sldMkLst>
        <pc:spChg chg="mod">
          <ac:chgData name="Tobias Brammer" userId="80a1e1bd-3b82-47a5-b259-da62a397db92" providerId="ADAL" clId="{008C3F84-4C29-4233-992B-2D26DEA7756B}" dt="2023-11-22T12:20:45.869" v="22864" actId="948"/>
          <ac:spMkLst>
            <pc:docMk/>
            <pc:sldMk cId="4133577339" sldId="372"/>
            <ac:spMk id="2" creationId="{F7A7B11F-5560-4450-B29C-AA36EE47DBD5}"/>
          </ac:spMkLst>
        </pc:spChg>
        <pc:spChg chg="add del mod">
          <ac:chgData name="Tobias Brammer" userId="80a1e1bd-3b82-47a5-b259-da62a397db92" providerId="ADAL" clId="{008C3F84-4C29-4233-992B-2D26DEA7756B}" dt="2023-11-22T12:23:45.299" v="23155" actId="478"/>
          <ac:spMkLst>
            <pc:docMk/>
            <pc:sldMk cId="4133577339" sldId="372"/>
            <ac:spMk id="6" creationId="{846B9F1C-2CA1-A4F4-3145-CB185E67A4E7}"/>
          </ac:spMkLst>
        </pc:spChg>
        <pc:spChg chg="add del mod">
          <ac:chgData name="Tobias Brammer" userId="80a1e1bd-3b82-47a5-b259-da62a397db92" providerId="ADAL" clId="{008C3F84-4C29-4233-992B-2D26DEA7756B}" dt="2023-11-22T12:30:39.738" v="23391"/>
          <ac:spMkLst>
            <pc:docMk/>
            <pc:sldMk cId="4133577339" sldId="372"/>
            <ac:spMk id="7" creationId="{2460781F-0ECE-5EA5-7245-2D7E897F3688}"/>
          </ac:spMkLst>
        </pc:spChg>
        <pc:spChg chg="add del mod">
          <ac:chgData name="Tobias Brammer" userId="80a1e1bd-3b82-47a5-b259-da62a397db92" providerId="ADAL" clId="{008C3F84-4C29-4233-992B-2D26DEA7756B}" dt="2023-11-22T13:01:53.212" v="25546" actId="478"/>
          <ac:spMkLst>
            <pc:docMk/>
            <pc:sldMk cId="4133577339" sldId="372"/>
            <ac:spMk id="8" creationId="{AA6FE027-C225-CB3E-4ED2-599F3596D309}"/>
          </ac:spMkLst>
        </pc:spChg>
        <pc:spChg chg="add mod">
          <ac:chgData name="Tobias Brammer" userId="80a1e1bd-3b82-47a5-b259-da62a397db92" providerId="ADAL" clId="{008C3F84-4C29-4233-992B-2D26DEA7756B}" dt="2023-12-08T07:09:01.952" v="27285" actId="20577"/>
          <ac:spMkLst>
            <pc:docMk/>
            <pc:sldMk cId="4133577339" sldId="372"/>
            <ac:spMk id="9" creationId="{84CF46FB-E545-1F31-67F0-34B4302682D9}"/>
          </ac:spMkLst>
        </pc:spChg>
        <pc:spChg chg="del">
          <ac:chgData name="Tobias Brammer" userId="80a1e1bd-3b82-47a5-b259-da62a397db92" providerId="ADAL" clId="{008C3F84-4C29-4233-992B-2D26DEA7756B}" dt="2023-11-22T12:23:41.273" v="23154" actId="478"/>
          <ac:spMkLst>
            <pc:docMk/>
            <pc:sldMk cId="4133577339" sldId="372"/>
            <ac:spMk id="10" creationId="{6123F9E9-4EDA-8639-0B90-4D3A855C3D7A}"/>
          </ac:spMkLst>
        </pc:spChg>
        <pc:graphicFrameChg chg="add mod modGraphic">
          <ac:chgData name="Tobias Brammer" userId="80a1e1bd-3b82-47a5-b259-da62a397db92" providerId="ADAL" clId="{008C3F84-4C29-4233-992B-2D26DEA7756B}" dt="2023-12-08T07:10:13.365" v="27323" actId="1035"/>
          <ac:graphicFrameMkLst>
            <pc:docMk/>
            <pc:sldMk cId="4133577339" sldId="372"/>
            <ac:graphicFrameMk id="3" creationId="{BD8AD885-6F1D-31F1-58C2-3085395975F2}"/>
          </ac:graphicFrameMkLst>
        </pc:graphicFrameChg>
        <pc:graphicFrameChg chg="mod">
          <ac:chgData name="Tobias Brammer" userId="80a1e1bd-3b82-47a5-b259-da62a397db92" providerId="ADAL" clId="{008C3F84-4C29-4233-992B-2D26DEA7756B}" dt="2023-11-22T12:20:45.885" v="22868"/>
          <ac:graphicFrameMkLst>
            <pc:docMk/>
            <pc:sldMk cId="4133577339" sldId="372"/>
            <ac:graphicFrameMk id="4" creationId="{79C05AFC-9555-D40C-AD9D-3E13BD0A4FC2}"/>
          </ac:graphicFrameMkLst>
        </pc:graphicFrameChg>
      </pc:sldChg>
      <pc:sldChg chg="addSp modSp add mod">
        <pc:chgData name="Tobias Brammer" userId="80a1e1bd-3b82-47a5-b259-da62a397db92" providerId="ADAL" clId="{008C3F84-4C29-4233-992B-2D26DEA7756B}" dt="2023-12-08T07:03:15.625" v="27159" actId="2711"/>
        <pc:sldMkLst>
          <pc:docMk/>
          <pc:sldMk cId="1287848197" sldId="373"/>
        </pc:sldMkLst>
        <pc:spChg chg="mod">
          <ac:chgData name="Tobias Brammer" userId="80a1e1bd-3b82-47a5-b259-da62a397db92" providerId="ADAL" clId="{008C3F84-4C29-4233-992B-2D26DEA7756B}" dt="2023-12-08T07:03:15.625" v="27159" actId="2711"/>
          <ac:spMkLst>
            <pc:docMk/>
            <pc:sldMk cId="1287848197" sldId="373"/>
            <ac:spMk id="10" creationId="{6123F9E9-4EDA-8639-0B90-4D3A855C3D7A}"/>
          </ac:spMkLst>
        </pc:spChg>
        <pc:picChg chg="add mod">
          <ac:chgData name="Tobias Brammer" userId="80a1e1bd-3b82-47a5-b259-da62a397db92" providerId="ADAL" clId="{008C3F84-4C29-4233-992B-2D26DEA7756B}" dt="2023-11-22T12:48:43.394" v="24436" actId="207"/>
          <ac:picMkLst>
            <pc:docMk/>
            <pc:sldMk cId="1287848197" sldId="373"/>
            <ac:picMk id="5" creationId="{056B8A6A-D911-3E3D-B968-FDEBA1F58F6D}"/>
          </ac:picMkLst>
        </pc:picChg>
      </pc:sldChg>
      <pc:sldChg chg="addSp delSp modSp add del mod">
        <pc:chgData name="Tobias Brammer" userId="80a1e1bd-3b82-47a5-b259-da62a397db92" providerId="ADAL" clId="{008C3F84-4C29-4233-992B-2D26DEA7756B}" dt="2023-11-22T12:21:30.574" v="23095" actId="47"/>
        <pc:sldMkLst>
          <pc:docMk/>
          <pc:sldMk cId="2619885078" sldId="373"/>
        </pc:sldMkLst>
        <pc:spChg chg="mod ord">
          <ac:chgData name="Tobias Brammer" userId="80a1e1bd-3b82-47a5-b259-da62a397db92" providerId="ADAL" clId="{008C3F84-4C29-4233-992B-2D26DEA7756B}" dt="2023-11-22T12:21:25.605" v="23090" actId="948"/>
          <ac:spMkLst>
            <pc:docMk/>
            <pc:sldMk cId="2619885078" sldId="373"/>
            <ac:spMk id="2" creationId="{2862F319-DDCA-E041-63EE-55761DA6294A}"/>
          </ac:spMkLst>
        </pc:spChg>
        <pc:spChg chg="add del mod modVis">
          <ac:chgData name="Tobias Brammer" userId="80a1e1bd-3b82-47a5-b259-da62a397db92" providerId="ADAL" clId="{008C3F84-4C29-4233-992B-2D26DEA7756B}" dt="2023-11-22T12:20:51.747" v="22904"/>
          <ac:spMkLst>
            <pc:docMk/>
            <pc:sldMk cId="2619885078" sldId="373"/>
            <ac:spMk id="3" creationId="{19911792-9867-CA8B-693F-A797C773D574}"/>
          </ac:spMkLst>
        </pc:spChg>
        <pc:spChg chg="add del mod ord replST">
          <ac:chgData name="Tobias Brammer" userId="80a1e1bd-3b82-47a5-b259-da62a397db92" providerId="ADAL" clId="{008C3F84-4C29-4233-992B-2D26DEA7756B}" dt="2023-11-22T12:21:18.006" v="23080"/>
          <ac:spMkLst>
            <pc:docMk/>
            <pc:sldMk cId="2619885078" sldId="373"/>
            <ac:spMk id="5" creationId="{3017520F-0AF9-67FC-6476-53E1AB3AC457}"/>
          </ac:spMkLst>
        </pc:spChg>
        <pc:spChg chg="add del mod modVis">
          <ac:chgData name="Tobias Brammer" userId="80a1e1bd-3b82-47a5-b259-da62a397db92" providerId="ADAL" clId="{008C3F84-4C29-4233-992B-2D26DEA7756B}" dt="2023-11-22T12:21:14.689" v="23074"/>
          <ac:spMkLst>
            <pc:docMk/>
            <pc:sldMk cId="2619885078" sldId="373"/>
            <ac:spMk id="6" creationId="{E9B66D39-DD1D-7D9C-B75B-6152103DF586}"/>
          </ac:spMkLst>
        </pc:spChg>
        <pc:graphicFrameChg chg="add mod ord modVis replST">
          <ac:chgData name="Tobias Brammer" userId="80a1e1bd-3b82-47a5-b259-da62a397db92" providerId="ADAL" clId="{008C3F84-4C29-4233-992B-2D26DEA7756B}" dt="2023-11-22T12:21:25.611" v="23094"/>
          <ac:graphicFrameMkLst>
            <pc:docMk/>
            <pc:sldMk cId="2619885078" sldId="373"/>
            <ac:graphicFrameMk id="4" creationId="{E8298D6B-FD68-3030-8B4D-2316BB6FF717}"/>
          </ac:graphicFrameMkLst>
        </pc:graphicFrameChg>
      </pc:sldChg>
      <pc:sldChg chg="addSp delSp modSp add del mod ord modTransition">
        <pc:chgData name="Tobias Brammer" userId="80a1e1bd-3b82-47a5-b259-da62a397db92" providerId="ADAL" clId="{008C3F84-4C29-4233-992B-2D26DEA7756B}" dt="2023-11-22T12:21:21.472" v="23089" actId="47"/>
        <pc:sldMkLst>
          <pc:docMk/>
          <pc:sldMk cId="975944501" sldId="374"/>
        </pc:sldMkLst>
        <pc:spChg chg="mod ord">
          <ac:chgData name="Tobias Brammer" userId="80a1e1bd-3b82-47a5-b259-da62a397db92" providerId="ADAL" clId="{008C3F84-4C29-4233-992B-2D26DEA7756B}" dt="2023-11-22T12:21:18.006" v="23081" actId="948"/>
          <ac:spMkLst>
            <pc:docMk/>
            <pc:sldMk cId="975944501" sldId="374"/>
            <ac:spMk id="2" creationId="{2862F319-DDCA-E041-63EE-55761DA6294A}"/>
          </ac:spMkLst>
        </pc:spChg>
        <pc:spChg chg="add del mod ord replST">
          <ac:chgData name="Tobias Brammer" userId="80a1e1bd-3b82-47a5-b259-da62a397db92" providerId="ADAL" clId="{008C3F84-4C29-4233-992B-2D26DEA7756B}" dt="2023-11-22T12:21:17.995" v="23078"/>
          <ac:spMkLst>
            <pc:docMk/>
            <pc:sldMk cId="975944501" sldId="374"/>
            <ac:spMk id="3" creationId="{25106BDA-113D-C067-7264-E6DF0C2D7836}"/>
          </ac:spMkLst>
        </pc:spChg>
        <pc:spChg chg="add del mod modVis">
          <ac:chgData name="Tobias Brammer" userId="80a1e1bd-3b82-47a5-b259-da62a397db92" providerId="ADAL" clId="{008C3F84-4C29-4233-992B-2D26DEA7756B}" dt="2023-11-22T12:21:14.689" v="23070"/>
          <ac:spMkLst>
            <pc:docMk/>
            <pc:sldMk cId="975944501" sldId="374"/>
            <ac:spMk id="5" creationId="{0EDEAA81-C6A6-40FE-C52B-FBA0071C0931}"/>
          </ac:spMkLst>
        </pc:spChg>
        <pc:graphicFrameChg chg="mod">
          <ac:chgData name="Tobias Brammer" userId="80a1e1bd-3b82-47a5-b259-da62a397db92" providerId="ADAL" clId="{008C3F84-4C29-4233-992B-2D26DEA7756B}" dt="2023-11-22T12:21:18.048" v="23086"/>
          <ac:graphicFrameMkLst>
            <pc:docMk/>
            <pc:sldMk cId="975944501" sldId="374"/>
            <ac:graphicFrameMk id="4" creationId="{E8298D6B-FD68-3030-8B4D-2316BB6FF717}"/>
          </ac:graphicFrameMkLst>
        </pc:graphicFrameChg>
      </pc:sldChg>
      <pc:sldChg chg="delSp add del mod">
        <pc:chgData name="Tobias Brammer" userId="80a1e1bd-3b82-47a5-b259-da62a397db92" providerId="ADAL" clId="{008C3F84-4C29-4233-992B-2D26DEA7756B}" dt="2023-11-22T13:55:45.492" v="25625" actId="47"/>
        <pc:sldMkLst>
          <pc:docMk/>
          <pc:sldMk cId="1686800785" sldId="374"/>
        </pc:sldMkLst>
        <pc:picChg chg="del">
          <ac:chgData name="Tobias Brammer" userId="80a1e1bd-3b82-47a5-b259-da62a397db92" providerId="ADAL" clId="{008C3F84-4C29-4233-992B-2D26DEA7756B}" dt="2023-11-22T13:18:48.449" v="25612" actId="478"/>
          <ac:picMkLst>
            <pc:docMk/>
            <pc:sldMk cId="1686800785" sldId="374"/>
            <ac:picMk id="12" creationId="{BC45735F-E063-4678-D02A-CBB56F461006}"/>
          </ac:picMkLst>
        </pc:picChg>
      </pc:sldChg>
      <pc:sldChg chg="modSp add mod">
        <pc:chgData name="Tobias Brammer" userId="80a1e1bd-3b82-47a5-b259-da62a397db92" providerId="ADAL" clId="{008C3F84-4C29-4233-992B-2D26DEA7756B}" dt="2023-12-08T07:07:51.849" v="27239" actId="14100"/>
        <pc:sldMkLst>
          <pc:docMk/>
          <pc:sldMk cId="4093706740" sldId="375"/>
        </pc:sldMkLst>
        <pc:spChg chg="mod">
          <ac:chgData name="Tobias Brammer" userId="80a1e1bd-3b82-47a5-b259-da62a397db92" providerId="ADAL" clId="{008C3F84-4C29-4233-992B-2D26DEA7756B}" dt="2023-12-08T07:07:51.849" v="27239" actId="14100"/>
          <ac:spMkLst>
            <pc:docMk/>
            <pc:sldMk cId="4093706740" sldId="375"/>
            <ac:spMk id="8" creationId="{9974A259-DC86-27AE-073B-E1B517848965}"/>
          </ac:spMkLst>
        </pc:spChg>
        <pc:picChg chg="mod">
          <ac:chgData name="Tobias Brammer" userId="80a1e1bd-3b82-47a5-b259-da62a397db92" providerId="ADAL" clId="{008C3F84-4C29-4233-992B-2D26DEA7756B}" dt="2023-11-22T14:04:34.707" v="25644" actId="14100"/>
          <ac:picMkLst>
            <pc:docMk/>
            <pc:sldMk cId="4093706740" sldId="375"/>
            <ac:picMk id="12" creationId="{BC45735F-E063-4678-D02A-CBB56F461006}"/>
          </ac:picMkLst>
        </pc:picChg>
      </pc:sldChg>
      <pc:sldChg chg="addSp modSp add">
        <pc:chgData name="Tobias Brammer" userId="80a1e1bd-3b82-47a5-b259-da62a397db92" providerId="ADAL" clId="{008C3F84-4C29-4233-992B-2D26DEA7756B}" dt="2023-12-08T10:26:46.091" v="27641"/>
        <pc:sldMkLst>
          <pc:docMk/>
          <pc:sldMk cId="320827175" sldId="376"/>
        </pc:sldMkLst>
        <pc:spChg chg="add mod">
          <ac:chgData name="Tobias Brammer" userId="80a1e1bd-3b82-47a5-b259-da62a397db92" providerId="ADAL" clId="{008C3F84-4C29-4233-992B-2D26DEA7756B}" dt="2023-12-08T10:26:46.091" v="27641"/>
          <ac:spMkLst>
            <pc:docMk/>
            <pc:sldMk cId="320827175" sldId="376"/>
            <ac:spMk id="5" creationId="{7A562B5D-C078-0FF6-56F4-6F20B6001BEE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33D631-8A1E-4E8D-84BA-8CA7E50F17FB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5173F2E7-D32D-448E-BEDB-760398CD3C07}">
      <dgm:prSet phldrT="[Tekst]"/>
      <dgm:spPr>
        <a:solidFill>
          <a:schemeClr val="accent5"/>
        </a:solidFill>
      </dgm:spPr>
      <dgm:t>
        <a:bodyPr/>
        <a:lstStyle/>
        <a:p>
          <a:r>
            <a:rPr lang="da-DK" dirty="0"/>
            <a:t>Statistiske modeller</a:t>
          </a:r>
        </a:p>
      </dgm:t>
    </dgm:pt>
    <dgm:pt modelId="{DA7BCB0E-4C0A-47D9-A9D7-E803C27FECB6}" type="parTrans" cxnId="{3A146189-D931-479D-AFFB-C2819ED06F1C}">
      <dgm:prSet/>
      <dgm:spPr/>
      <dgm:t>
        <a:bodyPr/>
        <a:lstStyle/>
        <a:p>
          <a:endParaRPr lang="da-DK"/>
        </a:p>
      </dgm:t>
    </dgm:pt>
    <dgm:pt modelId="{56224452-7FFF-4215-B1A0-EB5199100650}" type="sibTrans" cxnId="{3A146189-D931-479D-AFFB-C2819ED06F1C}">
      <dgm:prSet/>
      <dgm:spPr/>
      <dgm:t>
        <a:bodyPr/>
        <a:lstStyle/>
        <a:p>
          <a:endParaRPr lang="da-DK"/>
        </a:p>
      </dgm:t>
    </dgm:pt>
    <dgm:pt modelId="{17F79DE4-2F85-4ADC-AEE0-7CE4E862C491}">
      <dgm:prSet phldrT="[Tekst]"/>
      <dgm:spPr/>
      <dgm:t>
        <a:bodyPr/>
        <a:lstStyle/>
        <a:p>
          <a:r>
            <a:rPr lang="da-DK" dirty="0"/>
            <a:t>Mindste kvadraters metode</a:t>
          </a:r>
        </a:p>
      </dgm:t>
    </dgm:pt>
    <dgm:pt modelId="{45E8E9CC-BF4B-4FE8-8A6C-1BA7734FA6BC}" type="parTrans" cxnId="{CE6593CE-8A1D-4656-AEBC-961A5090AEE2}">
      <dgm:prSet/>
      <dgm:spPr/>
      <dgm:t>
        <a:bodyPr/>
        <a:lstStyle/>
        <a:p>
          <a:endParaRPr lang="da-DK"/>
        </a:p>
      </dgm:t>
    </dgm:pt>
    <dgm:pt modelId="{CC8A3A3B-3042-4CA6-B884-DCA7BDEE5442}" type="sibTrans" cxnId="{CE6593CE-8A1D-4656-AEBC-961A5090AEE2}">
      <dgm:prSet/>
      <dgm:spPr/>
      <dgm:t>
        <a:bodyPr/>
        <a:lstStyle/>
        <a:p>
          <a:endParaRPr lang="da-DK"/>
        </a:p>
      </dgm:t>
    </dgm:pt>
    <dgm:pt modelId="{E49FFA5C-D429-4D25-BF83-04C7735DC293}">
      <dgm:prSet phldrT="[Tekst]"/>
      <dgm:spPr>
        <a:solidFill>
          <a:schemeClr val="accent5"/>
        </a:solidFill>
      </dgm:spPr>
      <dgm:t>
        <a:bodyPr/>
        <a:lstStyle/>
        <a:p>
          <a:r>
            <a:rPr lang="da-DK" dirty="0"/>
            <a:t>Maskinlæringsmodeller</a:t>
          </a:r>
        </a:p>
      </dgm:t>
    </dgm:pt>
    <dgm:pt modelId="{A1884AAF-FA5F-467B-9E23-8ACD0D64FAE5}" type="parTrans" cxnId="{E0DA1B6B-C7EF-411C-A7D4-7927D0E25184}">
      <dgm:prSet/>
      <dgm:spPr/>
      <dgm:t>
        <a:bodyPr/>
        <a:lstStyle/>
        <a:p>
          <a:endParaRPr lang="da-DK"/>
        </a:p>
      </dgm:t>
    </dgm:pt>
    <dgm:pt modelId="{31A9E280-4803-4E6B-ADD0-CE2022F3ACD0}" type="sibTrans" cxnId="{E0DA1B6B-C7EF-411C-A7D4-7927D0E25184}">
      <dgm:prSet/>
      <dgm:spPr/>
      <dgm:t>
        <a:bodyPr/>
        <a:lstStyle/>
        <a:p>
          <a:endParaRPr lang="da-DK"/>
        </a:p>
      </dgm:t>
    </dgm:pt>
    <dgm:pt modelId="{9EA708EC-66C0-48F0-B61E-FEF895F2170A}">
      <dgm:prSet phldrT="[Tekst]"/>
      <dgm:spPr/>
      <dgm:t>
        <a:bodyPr/>
        <a:lstStyle/>
        <a:p>
          <a:r>
            <a:rPr lang="da-DK" dirty="0" err="1"/>
            <a:t>Elastic</a:t>
          </a:r>
          <a:r>
            <a:rPr lang="da-DK" dirty="0"/>
            <a:t> Net</a:t>
          </a:r>
        </a:p>
      </dgm:t>
    </dgm:pt>
    <dgm:pt modelId="{6C144344-FE26-4BAE-BF45-476DD13507DB}" type="parTrans" cxnId="{D6B59415-FAB6-4CA0-8F58-FB1B77AFC362}">
      <dgm:prSet/>
      <dgm:spPr/>
      <dgm:t>
        <a:bodyPr/>
        <a:lstStyle/>
        <a:p>
          <a:endParaRPr lang="da-DK"/>
        </a:p>
      </dgm:t>
    </dgm:pt>
    <dgm:pt modelId="{F018FA1E-DC24-4E43-8EA0-4797F16B227F}" type="sibTrans" cxnId="{D6B59415-FAB6-4CA0-8F58-FB1B77AFC362}">
      <dgm:prSet/>
      <dgm:spPr/>
      <dgm:t>
        <a:bodyPr/>
        <a:lstStyle/>
        <a:p>
          <a:endParaRPr lang="da-DK"/>
        </a:p>
      </dgm:t>
    </dgm:pt>
    <dgm:pt modelId="{D339E407-0D97-47B7-8138-3EDF963C471A}">
      <dgm:prSet phldrT="[Tekst]"/>
      <dgm:spPr>
        <a:solidFill>
          <a:schemeClr val="accent5"/>
        </a:solidFill>
      </dgm:spPr>
      <dgm:t>
        <a:bodyPr/>
        <a:lstStyle/>
        <a:p>
          <a:r>
            <a:rPr lang="da-DK" dirty="0"/>
            <a:t>Deep Learning</a:t>
          </a:r>
        </a:p>
      </dgm:t>
    </dgm:pt>
    <dgm:pt modelId="{B741CBA7-BB66-4DC1-BF97-41332E872023}" type="parTrans" cxnId="{F0E98AD1-2FFD-4AEE-9679-5CD9F268B5AF}">
      <dgm:prSet/>
      <dgm:spPr/>
      <dgm:t>
        <a:bodyPr/>
        <a:lstStyle/>
        <a:p>
          <a:endParaRPr lang="da-DK"/>
        </a:p>
      </dgm:t>
    </dgm:pt>
    <dgm:pt modelId="{E2F52EDF-0966-4818-9837-4818C5FFCD55}" type="sibTrans" cxnId="{F0E98AD1-2FFD-4AEE-9679-5CD9F268B5AF}">
      <dgm:prSet/>
      <dgm:spPr/>
      <dgm:t>
        <a:bodyPr/>
        <a:lstStyle/>
        <a:p>
          <a:endParaRPr lang="da-DK"/>
        </a:p>
      </dgm:t>
    </dgm:pt>
    <dgm:pt modelId="{2268A3A8-21C7-4CEF-8D80-D5C15D97D74C}">
      <dgm:prSet phldrT="[Tekst]"/>
      <dgm:spPr/>
      <dgm:t>
        <a:bodyPr/>
        <a:lstStyle/>
        <a:p>
          <a:r>
            <a:rPr lang="da-DK" dirty="0"/>
            <a:t>Neurale Netværk</a:t>
          </a:r>
        </a:p>
      </dgm:t>
    </dgm:pt>
    <dgm:pt modelId="{7ED9D7B1-0934-432F-9AC5-8256E92386B2}" type="parTrans" cxnId="{CD5BDEAD-0DDF-4BC6-9FEB-1CF25D702BD7}">
      <dgm:prSet/>
      <dgm:spPr/>
      <dgm:t>
        <a:bodyPr/>
        <a:lstStyle/>
        <a:p>
          <a:endParaRPr lang="da-DK"/>
        </a:p>
      </dgm:t>
    </dgm:pt>
    <dgm:pt modelId="{DAA442CC-E591-4CE0-8B02-374D8BA329FF}" type="sibTrans" cxnId="{CD5BDEAD-0DDF-4BC6-9FEB-1CF25D702BD7}">
      <dgm:prSet/>
      <dgm:spPr/>
      <dgm:t>
        <a:bodyPr/>
        <a:lstStyle/>
        <a:p>
          <a:endParaRPr lang="da-DK"/>
        </a:p>
      </dgm:t>
    </dgm:pt>
    <dgm:pt modelId="{01477645-4746-4A8A-9EA2-D46E09AA50AA}">
      <dgm:prSet phldrT="[Tekst]"/>
      <dgm:spPr/>
      <dgm:t>
        <a:bodyPr/>
        <a:lstStyle/>
        <a:p>
          <a:r>
            <a:rPr lang="da-DK" dirty="0"/>
            <a:t>Træbaserede modeller</a:t>
          </a:r>
        </a:p>
      </dgm:t>
    </dgm:pt>
    <dgm:pt modelId="{44AAC25A-B255-441A-958D-D5AE2AC3888E}" type="parTrans" cxnId="{BEDD7C11-73B2-4164-BC1A-091A528BF3E2}">
      <dgm:prSet/>
      <dgm:spPr/>
      <dgm:t>
        <a:bodyPr/>
        <a:lstStyle/>
        <a:p>
          <a:endParaRPr lang="da-DK"/>
        </a:p>
      </dgm:t>
    </dgm:pt>
    <dgm:pt modelId="{3BA62D48-1015-42E8-BF8A-53E2033BA578}" type="sibTrans" cxnId="{BEDD7C11-73B2-4164-BC1A-091A528BF3E2}">
      <dgm:prSet/>
      <dgm:spPr/>
      <dgm:t>
        <a:bodyPr/>
        <a:lstStyle/>
        <a:p>
          <a:endParaRPr lang="da-DK"/>
        </a:p>
      </dgm:t>
    </dgm:pt>
    <dgm:pt modelId="{EB35FE0C-3D88-4F96-A3BB-4F88DBBCB10F}">
      <dgm:prSet phldrT="[Tekst]"/>
      <dgm:spPr/>
      <dgm:t>
        <a:bodyPr/>
        <a:lstStyle/>
        <a:p>
          <a:r>
            <a:rPr lang="da-DK" dirty="0"/>
            <a:t>Ensemble</a:t>
          </a:r>
        </a:p>
      </dgm:t>
    </dgm:pt>
    <dgm:pt modelId="{012407FC-6E14-4D87-81F3-339058B5BAE9}" type="parTrans" cxnId="{1F957D36-F0F5-492A-AEDD-D597E960A851}">
      <dgm:prSet/>
      <dgm:spPr/>
      <dgm:t>
        <a:bodyPr/>
        <a:lstStyle/>
        <a:p>
          <a:endParaRPr lang="da-DK"/>
        </a:p>
      </dgm:t>
    </dgm:pt>
    <dgm:pt modelId="{8E833AA5-3D7A-4F8D-BBDD-1E8E3CA7FD42}" type="sibTrans" cxnId="{1F957D36-F0F5-492A-AEDD-D597E960A851}">
      <dgm:prSet/>
      <dgm:spPr/>
      <dgm:t>
        <a:bodyPr/>
        <a:lstStyle/>
        <a:p>
          <a:endParaRPr lang="da-DK"/>
        </a:p>
      </dgm:t>
    </dgm:pt>
    <dgm:pt modelId="{0BFB474A-6354-4B4E-A15F-C3333FDA8DE0}">
      <dgm:prSet phldrT="[Tekst]"/>
      <dgm:spPr/>
      <dgm:t>
        <a:bodyPr/>
        <a:lstStyle/>
        <a:p>
          <a:r>
            <a:rPr lang="da-DK" dirty="0"/>
            <a:t>LSTM</a:t>
          </a:r>
        </a:p>
      </dgm:t>
    </dgm:pt>
    <dgm:pt modelId="{3DAFEEC4-0B62-45E7-AA86-DDD38B3F78F2}" type="parTrans" cxnId="{033EED6E-1DCE-4E04-AB5D-41B71586213E}">
      <dgm:prSet/>
      <dgm:spPr/>
      <dgm:t>
        <a:bodyPr/>
        <a:lstStyle/>
        <a:p>
          <a:endParaRPr lang="da-DK"/>
        </a:p>
      </dgm:t>
    </dgm:pt>
    <dgm:pt modelId="{0D815DE2-F480-4D3D-AA49-EC69ADEC1D13}" type="sibTrans" cxnId="{033EED6E-1DCE-4E04-AB5D-41B71586213E}">
      <dgm:prSet/>
      <dgm:spPr/>
      <dgm:t>
        <a:bodyPr/>
        <a:lstStyle/>
        <a:p>
          <a:endParaRPr lang="da-DK"/>
        </a:p>
      </dgm:t>
    </dgm:pt>
    <dgm:pt modelId="{E7D8B96F-F943-4394-90A9-EFBF8CFF13B1}" type="pres">
      <dgm:prSet presAssocID="{B733D631-8A1E-4E8D-84BA-8CA7E50F17FB}" presName="theList" presStyleCnt="0">
        <dgm:presLayoutVars>
          <dgm:dir/>
          <dgm:animLvl val="lvl"/>
          <dgm:resizeHandles val="exact"/>
        </dgm:presLayoutVars>
      </dgm:prSet>
      <dgm:spPr/>
    </dgm:pt>
    <dgm:pt modelId="{B2AD8834-63E1-4899-B28E-A7DA9CBEAD60}" type="pres">
      <dgm:prSet presAssocID="{5173F2E7-D32D-448E-BEDB-760398CD3C07}" presName="compNode" presStyleCnt="0"/>
      <dgm:spPr/>
    </dgm:pt>
    <dgm:pt modelId="{418F2096-C37C-487C-A6C5-DD917A4421DD}" type="pres">
      <dgm:prSet presAssocID="{5173F2E7-D32D-448E-BEDB-760398CD3C07}" presName="aNode" presStyleLbl="bgShp" presStyleIdx="0" presStyleCnt="3"/>
      <dgm:spPr/>
    </dgm:pt>
    <dgm:pt modelId="{96BFBE29-1ED2-4B94-BF1C-A0E867D8C30E}" type="pres">
      <dgm:prSet presAssocID="{5173F2E7-D32D-448E-BEDB-760398CD3C07}" presName="textNode" presStyleLbl="bgShp" presStyleIdx="0" presStyleCnt="3"/>
      <dgm:spPr/>
    </dgm:pt>
    <dgm:pt modelId="{78610313-332B-4258-9E9E-E84565885E00}" type="pres">
      <dgm:prSet presAssocID="{5173F2E7-D32D-448E-BEDB-760398CD3C07}" presName="compChildNode" presStyleCnt="0"/>
      <dgm:spPr/>
    </dgm:pt>
    <dgm:pt modelId="{40311CD2-1C20-4EBD-A82E-D5F3332217B8}" type="pres">
      <dgm:prSet presAssocID="{5173F2E7-D32D-448E-BEDB-760398CD3C07}" presName="theInnerList" presStyleCnt="0"/>
      <dgm:spPr/>
    </dgm:pt>
    <dgm:pt modelId="{B393D081-7DC6-4E37-B65E-BD5AEB9E0084}" type="pres">
      <dgm:prSet presAssocID="{17F79DE4-2F85-4ADC-AEE0-7CE4E862C491}" presName="childNode" presStyleLbl="node1" presStyleIdx="0" presStyleCnt="6">
        <dgm:presLayoutVars>
          <dgm:bulletEnabled val="1"/>
        </dgm:presLayoutVars>
      </dgm:prSet>
      <dgm:spPr/>
    </dgm:pt>
    <dgm:pt modelId="{31A0AA2C-397B-40B0-965B-56A180292178}" type="pres">
      <dgm:prSet presAssocID="{5173F2E7-D32D-448E-BEDB-760398CD3C07}" presName="aSpace" presStyleCnt="0"/>
      <dgm:spPr/>
    </dgm:pt>
    <dgm:pt modelId="{412384B9-EB75-4443-992D-11EB1229B615}" type="pres">
      <dgm:prSet presAssocID="{E49FFA5C-D429-4D25-BF83-04C7735DC293}" presName="compNode" presStyleCnt="0"/>
      <dgm:spPr/>
    </dgm:pt>
    <dgm:pt modelId="{41208AB7-1D31-4743-9933-1B1B4644967E}" type="pres">
      <dgm:prSet presAssocID="{E49FFA5C-D429-4D25-BF83-04C7735DC293}" presName="aNode" presStyleLbl="bgShp" presStyleIdx="1" presStyleCnt="3"/>
      <dgm:spPr/>
    </dgm:pt>
    <dgm:pt modelId="{73041407-DAC5-4317-90B2-32DB379A064C}" type="pres">
      <dgm:prSet presAssocID="{E49FFA5C-D429-4D25-BF83-04C7735DC293}" presName="textNode" presStyleLbl="bgShp" presStyleIdx="1" presStyleCnt="3"/>
      <dgm:spPr/>
    </dgm:pt>
    <dgm:pt modelId="{907099C0-2849-41E3-8562-926D022A2E85}" type="pres">
      <dgm:prSet presAssocID="{E49FFA5C-D429-4D25-BF83-04C7735DC293}" presName="compChildNode" presStyleCnt="0"/>
      <dgm:spPr/>
    </dgm:pt>
    <dgm:pt modelId="{62A0A277-463F-4B34-8445-79D984DF8219}" type="pres">
      <dgm:prSet presAssocID="{E49FFA5C-D429-4D25-BF83-04C7735DC293}" presName="theInnerList" presStyleCnt="0"/>
      <dgm:spPr/>
    </dgm:pt>
    <dgm:pt modelId="{82942B11-2E3B-47D8-B1DF-2E8FA2D67FB3}" type="pres">
      <dgm:prSet presAssocID="{9EA708EC-66C0-48F0-B61E-FEF895F2170A}" presName="childNode" presStyleLbl="node1" presStyleIdx="1" presStyleCnt="6">
        <dgm:presLayoutVars>
          <dgm:bulletEnabled val="1"/>
        </dgm:presLayoutVars>
      </dgm:prSet>
      <dgm:spPr/>
    </dgm:pt>
    <dgm:pt modelId="{AB8D7601-5655-456C-B0CE-66657417D4CA}" type="pres">
      <dgm:prSet presAssocID="{9EA708EC-66C0-48F0-B61E-FEF895F2170A}" presName="aSpace2" presStyleCnt="0"/>
      <dgm:spPr/>
    </dgm:pt>
    <dgm:pt modelId="{696DEE72-14FC-4A70-B98F-2AF04FFFDFC1}" type="pres">
      <dgm:prSet presAssocID="{01477645-4746-4A8A-9EA2-D46E09AA50AA}" presName="childNode" presStyleLbl="node1" presStyleIdx="2" presStyleCnt="6">
        <dgm:presLayoutVars>
          <dgm:bulletEnabled val="1"/>
        </dgm:presLayoutVars>
      </dgm:prSet>
      <dgm:spPr/>
    </dgm:pt>
    <dgm:pt modelId="{A81173D5-C062-47C8-BC4A-F987822164F0}" type="pres">
      <dgm:prSet presAssocID="{01477645-4746-4A8A-9EA2-D46E09AA50AA}" presName="aSpace2" presStyleCnt="0"/>
      <dgm:spPr/>
    </dgm:pt>
    <dgm:pt modelId="{28ED6202-EB62-42A3-9511-6129D33C3EDB}" type="pres">
      <dgm:prSet presAssocID="{EB35FE0C-3D88-4F96-A3BB-4F88DBBCB10F}" presName="childNode" presStyleLbl="node1" presStyleIdx="3" presStyleCnt="6">
        <dgm:presLayoutVars>
          <dgm:bulletEnabled val="1"/>
        </dgm:presLayoutVars>
      </dgm:prSet>
      <dgm:spPr/>
    </dgm:pt>
    <dgm:pt modelId="{7AB023B8-D6E8-4B12-BF39-19A91FDA6E8E}" type="pres">
      <dgm:prSet presAssocID="{E49FFA5C-D429-4D25-BF83-04C7735DC293}" presName="aSpace" presStyleCnt="0"/>
      <dgm:spPr/>
    </dgm:pt>
    <dgm:pt modelId="{1D5779F1-1588-42CB-977D-42263C38AC82}" type="pres">
      <dgm:prSet presAssocID="{D339E407-0D97-47B7-8138-3EDF963C471A}" presName="compNode" presStyleCnt="0"/>
      <dgm:spPr/>
    </dgm:pt>
    <dgm:pt modelId="{D4BFB511-B98E-4261-87F1-16CF72AD5479}" type="pres">
      <dgm:prSet presAssocID="{D339E407-0D97-47B7-8138-3EDF963C471A}" presName="aNode" presStyleLbl="bgShp" presStyleIdx="2" presStyleCnt="3"/>
      <dgm:spPr/>
    </dgm:pt>
    <dgm:pt modelId="{431CC4A4-B48B-47C9-986E-59D4373C9973}" type="pres">
      <dgm:prSet presAssocID="{D339E407-0D97-47B7-8138-3EDF963C471A}" presName="textNode" presStyleLbl="bgShp" presStyleIdx="2" presStyleCnt="3"/>
      <dgm:spPr/>
    </dgm:pt>
    <dgm:pt modelId="{C16442D1-87FD-4060-B167-E65F2D25FE30}" type="pres">
      <dgm:prSet presAssocID="{D339E407-0D97-47B7-8138-3EDF963C471A}" presName="compChildNode" presStyleCnt="0"/>
      <dgm:spPr/>
    </dgm:pt>
    <dgm:pt modelId="{6C82F1F8-91B3-45CF-8BE9-DC07DF7EDB93}" type="pres">
      <dgm:prSet presAssocID="{D339E407-0D97-47B7-8138-3EDF963C471A}" presName="theInnerList" presStyleCnt="0"/>
      <dgm:spPr/>
    </dgm:pt>
    <dgm:pt modelId="{0EEA905C-A0AC-48EA-94D2-65CA241B1E81}" type="pres">
      <dgm:prSet presAssocID="{2268A3A8-21C7-4CEF-8D80-D5C15D97D74C}" presName="childNode" presStyleLbl="node1" presStyleIdx="4" presStyleCnt="6">
        <dgm:presLayoutVars>
          <dgm:bulletEnabled val="1"/>
        </dgm:presLayoutVars>
      </dgm:prSet>
      <dgm:spPr/>
    </dgm:pt>
    <dgm:pt modelId="{50C63F4C-5971-431D-AEAF-B7F82242DFA1}" type="pres">
      <dgm:prSet presAssocID="{2268A3A8-21C7-4CEF-8D80-D5C15D97D74C}" presName="aSpace2" presStyleCnt="0"/>
      <dgm:spPr/>
    </dgm:pt>
    <dgm:pt modelId="{9F96E5F8-EDC8-499E-BFF9-D0B19105B5C3}" type="pres">
      <dgm:prSet presAssocID="{0BFB474A-6354-4B4E-A15F-C3333FDA8DE0}" presName="childNode" presStyleLbl="node1" presStyleIdx="5" presStyleCnt="6">
        <dgm:presLayoutVars>
          <dgm:bulletEnabled val="1"/>
        </dgm:presLayoutVars>
      </dgm:prSet>
      <dgm:spPr/>
    </dgm:pt>
  </dgm:ptLst>
  <dgm:cxnLst>
    <dgm:cxn modelId="{DA5CB706-6F9B-421C-8F76-362A79430A71}" type="presOf" srcId="{D339E407-0D97-47B7-8138-3EDF963C471A}" destId="{431CC4A4-B48B-47C9-986E-59D4373C9973}" srcOrd="1" destOrd="0" presId="urn:microsoft.com/office/officeart/2005/8/layout/lProcess2"/>
    <dgm:cxn modelId="{BEDD7C11-73B2-4164-BC1A-091A528BF3E2}" srcId="{E49FFA5C-D429-4D25-BF83-04C7735DC293}" destId="{01477645-4746-4A8A-9EA2-D46E09AA50AA}" srcOrd="1" destOrd="0" parTransId="{44AAC25A-B255-441A-958D-D5AE2AC3888E}" sibTransId="{3BA62D48-1015-42E8-BF8A-53E2033BA578}"/>
    <dgm:cxn modelId="{D6B59415-FAB6-4CA0-8F58-FB1B77AFC362}" srcId="{E49FFA5C-D429-4D25-BF83-04C7735DC293}" destId="{9EA708EC-66C0-48F0-B61E-FEF895F2170A}" srcOrd="0" destOrd="0" parTransId="{6C144344-FE26-4BAE-BF45-476DD13507DB}" sibTransId="{F018FA1E-DC24-4E43-8EA0-4797F16B227F}"/>
    <dgm:cxn modelId="{1F957D36-F0F5-492A-AEDD-D597E960A851}" srcId="{E49FFA5C-D429-4D25-BF83-04C7735DC293}" destId="{EB35FE0C-3D88-4F96-A3BB-4F88DBBCB10F}" srcOrd="2" destOrd="0" parTransId="{012407FC-6E14-4D87-81F3-339058B5BAE9}" sibTransId="{8E833AA5-3D7A-4F8D-BBDD-1E8E3CA7FD42}"/>
    <dgm:cxn modelId="{85CCA436-5671-4715-BD02-DC5B1CE81CA6}" type="presOf" srcId="{D339E407-0D97-47B7-8138-3EDF963C471A}" destId="{D4BFB511-B98E-4261-87F1-16CF72AD5479}" srcOrd="0" destOrd="0" presId="urn:microsoft.com/office/officeart/2005/8/layout/lProcess2"/>
    <dgm:cxn modelId="{96646C5E-6B60-4F34-91B9-DD05212C4085}" type="presOf" srcId="{9EA708EC-66C0-48F0-B61E-FEF895F2170A}" destId="{82942B11-2E3B-47D8-B1DF-2E8FA2D67FB3}" srcOrd="0" destOrd="0" presId="urn:microsoft.com/office/officeart/2005/8/layout/lProcess2"/>
    <dgm:cxn modelId="{1852C161-D62E-44F3-9E34-DC95D5E599B6}" type="presOf" srcId="{EB35FE0C-3D88-4F96-A3BB-4F88DBBCB10F}" destId="{28ED6202-EB62-42A3-9511-6129D33C3EDB}" srcOrd="0" destOrd="0" presId="urn:microsoft.com/office/officeart/2005/8/layout/lProcess2"/>
    <dgm:cxn modelId="{5679D464-FDA1-43E9-8A31-80D7D7E428FE}" type="presOf" srcId="{17F79DE4-2F85-4ADC-AEE0-7CE4E862C491}" destId="{B393D081-7DC6-4E37-B65E-BD5AEB9E0084}" srcOrd="0" destOrd="0" presId="urn:microsoft.com/office/officeart/2005/8/layout/lProcess2"/>
    <dgm:cxn modelId="{E5695369-9A10-49A6-BB6B-3E6CB1EB0E0A}" type="presOf" srcId="{5173F2E7-D32D-448E-BEDB-760398CD3C07}" destId="{418F2096-C37C-487C-A6C5-DD917A4421DD}" srcOrd="0" destOrd="0" presId="urn:microsoft.com/office/officeart/2005/8/layout/lProcess2"/>
    <dgm:cxn modelId="{E0DA1B6B-C7EF-411C-A7D4-7927D0E25184}" srcId="{B733D631-8A1E-4E8D-84BA-8CA7E50F17FB}" destId="{E49FFA5C-D429-4D25-BF83-04C7735DC293}" srcOrd="1" destOrd="0" parTransId="{A1884AAF-FA5F-467B-9E23-8ACD0D64FAE5}" sibTransId="{31A9E280-4803-4E6B-ADD0-CE2022F3ACD0}"/>
    <dgm:cxn modelId="{033EED6E-1DCE-4E04-AB5D-41B71586213E}" srcId="{D339E407-0D97-47B7-8138-3EDF963C471A}" destId="{0BFB474A-6354-4B4E-A15F-C3333FDA8DE0}" srcOrd="1" destOrd="0" parTransId="{3DAFEEC4-0B62-45E7-AA86-DDD38B3F78F2}" sibTransId="{0D815DE2-F480-4D3D-AA49-EC69ADEC1D13}"/>
    <dgm:cxn modelId="{6ED70454-D7D8-4965-9E03-2B1604340267}" type="presOf" srcId="{01477645-4746-4A8A-9EA2-D46E09AA50AA}" destId="{696DEE72-14FC-4A70-B98F-2AF04FFFDFC1}" srcOrd="0" destOrd="0" presId="urn:microsoft.com/office/officeart/2005/8/layout/lProcess2"/>
    <dgm:cxn modelId="{3A146189-D931-479D-AFFB-C2819ED06F1C}" srcId="{B733D631-8A1E-4E8D-84BA-8CA7E50F17FB}" destId="{5173F2E7-D32D-448E-BEDB-760398CD3C07}" srcOrd="0" destOrd="0" parTransId="{DA7BCB0E-4C0A-47D9-A9D7-E803C27FECB6}" sibTransId="{56224452-7FFF-4215-B1A0-EB5199100650}"/>
    <dgm:cxn modelId="{2A876D99-5490-4EA6-9E18-20F0E43615B4}" type="presOf" srcId="{0BFB474A-6354-4B4E-A15F-C3333FDA8DE0}" destId="{9F96E5F8-EDC8-499E-BFF9-D0B19105B5C3}" srcOrd="0" destOrd="0" presId="urn:microsoft.com/office/officeart/2005/8/layout/lProcess2"/>
    <dgm:cxn modelId="{4E9301A7-725C-4F6C-99F0-CF196F2026A8}" type="presOf" srcId="{E49FFA5C-D429-4D25-BF83-04C7735DC293}" destId="{41208AB7-1D31-4743-9933-1B1B4644967E}" srcOrd="0" destOrd="0" presId="urn:microsoft.com/office/officeart/2005/8/layout/lProcess2"/>
    <dgm:cxn modelId="{CD5BDEAD-0DDF-4BC6-9FEB-1CF25D702BD7}" srcId="{D339E407-0D97-47B7-8138-3EDF963C471A}" destId="{2268A3A8-21C7-4CEF-8D80-D5C15D97D74C}" srcOrd="0" destOrd="0" parTransId="{7ED9D7B1-0934-432F-9AC5-8256E92386B2}" sibTransId="{DAA442CC-E591-4CE0-8B02-374D8BA329FF}"/>
    <dgm:cxn modelId="{E53464B7-BB94-4D14-A84B-A0AE00AEBDA1}" type="presOf" srcId="{B733D631-8A1E-4E8D-84BA-8CA7E50F17FB}" destId="{E7D8B96F-F943-4394-90A9-EFBF8CFF13B1}" srcOrd="0" destOrd="0" presId="urn:microsoft.com/office/officeart/2005/8/layout/lProcess2"/>
    <dgm:cxn modelId="{019B69C4-C55A-4F1C-8935-A1F9031683EF}" type="presOf" srcId="{E49FFA5C-D429-4D25-BF83-04C7735DC293}" destId="{73041407-DAC5-4317-90B2-32DB379A064C}" srcOrd="1" destOrd="0" presId="urn:microsoft.com/office/officeart/2005/8/layout/lProcess2"/>
    <dgm:cxn modelId="{CE6593CE-8A1D-4656-AEBC-961A5090AEE2}" srcId="{5173F2E7-D32D-448E-BEDB-760398CD3C07}" destId="{17F79DE4-2F85-4ADC-AEE0-7CE4E862C491}" srcOrd="0" destOrd="0" parTransId="{45E8E9CC-BF4B-4FE8-8A6C-1BA7734FA6BC}" sibTransId="{CC8A3A3B-3042-4CA6-B884-DCA7BDEE5442}"/>
    <dgm:cxn modelId="{F0E98AD1-2FFD-4AEE-9679-5CD9F268B5AF}" srcId="{B733D631-8A1E-4E8D-84BA-8CA7E50F17FB}" destId="{D339E407-0D97-47B7-8138-3EDF963C471A}" srcOrd="2" destOrd="0" parTransId="{B741CBA7-BB66-4DC1-BF97-41332E872023}" sibTransId="{E2F52EDF-0966-4818-9837-4818C5FFCD55}"/>
    <dgm:cxn modelId="{96FC6FF7-B7EB-4AD5-A6F4-04B76749ABA2}" type="presOf" srcId="{2268A3A8-21C7-4CEF-8D80-D5C15D97D74C}" destId="{0EEA905C-A0AC-48EA-94D2-65CA241B1E81}" srcOrd="0" destOrd="0" presId="urn:microsoft.com/office/officeart/2005/8/layout/lProcess2"/>
    <dgm:cxn modelId="{44EA53FE-43A0-4BBA-BA25-2923A5EEBD4C}" type="presOf" srcId="{5173F2E7-D32D-448E-BEDB-760398CD3C07}" destId="{96BFBE29-1ED2-4B94-BF1C-A0E867D8C30E}" srcOrd="1" destOrd="0" presId="urn:microsoft.com/office/officeart/2005/8/layout/lProcess2"/>
    <dgm:cxn modelId="{2CD0E4A4-6BF8-4B4C-A3DE-9C8120AC0D70}" type="presParOf" srcId="{E7D8B96F-F943-4394-90A9-EFBF8CFF13B1}" destId="{B2AD8834-63E1-4899-B28E-A7DA9CBEAD60}" srcOrd="0" destOrd="0" presId="urn:microsoft.com/office/officeart/2005/8/layout/lProcess2"/>
    <dgm:cxn modelId="{51CF99A7-23B0-435C-A30C-BB87C246CA2F}" type="presParOf" srcId="{B2AD8834-63E1-4899-B28E-A7DA9CBEAD60}" destId="{418F2096-C37C-487C-A6C5-DD917A4421DD}" srcOrd="0" destOrd="0" presId="urn:microsoft.com/office/officeart/2005/8/layout/lProcess2"/>
    <dgm:cxn modelId="{2CF09985-76FC-4120-8945-930AD22990DE}" type="presParOf" srcId="{B2AD8834-63E1-4899-B28E-A7DA9CBEAD60}" destId="{96BFBE29-1ED2-4B94-BF1C-A0E867D8C30E}" srcOrd="1" destOrd="0" presId="urn:microsoft.com/office/officeart/2005/8/layout/lProcess2"/>
    <dgm:cxn modelId="{3D05734D-AAEB-4F6F-8D95-A1E57B54CEA6}" type="presParOf" srcId="{B2AD8834-63E1-4899-B28E-A7DA9CBEAD60}" destId="{78610313-332B-4258-9E9E-E84565885E00}" srcOrd="2" destOrd="0" presId="urn:microsoft.com/office/officeart/2005/8/layout/lProcess2"/>
    <dgm:cxn modelId="{F5B4F47E-DB41-4A09-AA48-C4B08C76E6D0}" type="presParOf" srcId="{78610313-332B-4258-9E9E-E84565885E00}" destId="{40311CD2-1C20-4EBD-A82E-D5F3332217B8}" srcOrd="0" destOrd="0" presId="urn:microsoft.com/office/officeart/2005/8/layout/lProcess2"/>
    <dgm:cxn modelId="{8858DC9D-46D2-4D72-B507-F4EE3D08FC08}" type="presParOf" srcId="{40311CD2-1C20-4EBD-A82E-D5F3332217B8}" destId="{B393D081-7DC6-4E37-B65E-BD5AEB9E0084}" srcOrd="0" destOrd="0" presId="urn:microsoft.com/office/officeart/2005/8/layout/lProcess2"/>
    <dgm:cxn modelId="{4756444A-C4FE-43B4-B1E7-71F2EE1DBD73}" type="presParOf" srcId="{E7D8B96F-F943-4394-90A9-EFBF8CFF13B1}" destId="{31A0AA2C-397B-40B0-965B-56A180292178}" srcOrd="1" destOrd="0" presId="urn:microsoft.com/office/officeart/2005/8/layout/lProcess2"/>
    <dgm:cxn modelId="{701ABD9E-A2DB-48FB-9C7B-BEBA68611713}" type="presParOf" srcId="{E7D8B96F-F943-4394-90A9-EFBF8CFF13B1}" destId="{412384B9-EB75-4443-992D-11EB1229B615}" srcOrd="2" destOrd="0" presId="urn:microsoft.com/office/officeart/2005/8/layout/lProcess2"/>
    <dgm:cxn modelId="{DBBF9BF3-2517-4610-88D2-6E82D12E6698}" type="presParOf" srcId="{412384B9-EB75-4443-992D-11EB1229B615}" destId="{41208AB7-1D31-4743-9933-1B1B4644967E}" srcOrd="0" destOrd="0" presId="urn:microsoft.com/office/officeart/2005/8/layout/lProcess2"/>
    <dgm:cxn modelId="{EF5FBDAE-8645-4397-8082-211B4A2E87B0}" type="presParOf" srcId="{412384B9-EB75-4443-992D-11EB1229B615}" destId="{73041407-DAC5-4317-90B2-32DB379A064C}" srcOrd="1" destOrd="0" presId="urn:microsoft.com/office/officeart/2005/8/layout/lProcess2"/>
    <dgm:cxn modelId="{F8B0F592-5EB5-4509-9B95-0B060FE7E546}" type="presParOf" srcId="{412384B9-EB75-4443-992D-11EB1229B615}" destId="{907099C0-2849-41E3-8562-926D022A2E85}" srcOrd="2" destOrd="0" presId="urn:microsoft.com/office/officeart/2005/8/layout/lProcess2"/>
    <dgm:cxn modelId="{29DD8908-8536-4458-BC6C-B09E5E000942}" type="presParOf" srcId="{907099C0-2849-41E3-8562-926D022A2E85}" destId="{62A0A277-463F-4B34-8445-79D984DF8219}" srcOrd="0" destOrd="0" presId="urn:microsoft.com/office/officeart/2005/8/layout/lProcess2"/>
    <dgm:cxn modelId="{189407F4-9BF6-440E-9780-18F28319A93D}" type="presParOf" srcId="{62A0A277-463F-4B34-8445-79D984DF8219}" destId="{82942B11-2E3B-47D8-B1DF-2E8FA2D67FB3}" srcOrd="0" destOrd="0" presId="urn:microsoft.com/office/officeart/2005/8/layout/lProcess2"/>
    <dgm:cxn modelId="{17A273C6-8F4E-4171-9FF8-B2C59CC4EABB}" type="presParOf" srcId="{62A0A277-463F-4B34-8445-79D984DF8219}" destId="{AB8D7601-5655-456C-B0CE-66657417D4CA}" srcOrd="1" destOrd="0" presId="urn:microsoft.com/office/officeart/2005/8/layout/lProcess2"/>
    <dgm:cxn modelId="{E2E9DED3-051F-4823-B495-94D6135F171C}" type="presParOf" srcId="{62A0A277-463F-4B34-8445-79D984DF8219}" destId="{696DEE72-14FC-4A70-B98F-2AF04FFFDFC1}" srcOrd="2" destOrd="0" presId="urn:microsoft.com/office/officeart/2005/8/layout/lProcess2"/>
    <dgm:cxn modelId="{BC5AE7BE-BF78-43DA-89FF-A9278809F3E6}" type="presParOf" srcId="{62A0A277-463F-4B34-8445-79D984DF8219}" destId="{A81173D5-C062-47C8-BC4A-F987822164F0}" srcOrd="3" destOrd="0" presId="urn:microsoft.com/office/officeart/2005/8/layout/lProcess2"/>
    <dgm:cxn modelId="{17FC64C6-C3C3-4B40-8194-3DE4CBBD9913}" type="presParOf" srcId="{62A0A277-463F-4B34-8445-79D984DF8219}" destId="{28ED6202-EB62-42A3-9511-6129D33C3EDB}" srcOrd="4" destOrd="0" presId="urn:microsoft.com/office/officeart/2005/8/layout/lProcess2"/>
    <dgm:cxn modelId="{0F237A3D-3037-4014-9CF6-C75EAA6BCF03}" type="presParOf" srcId="{E7D8B96F-F943-4394-90A9-EFBF8CFF13B1}" destId="{7AB023B8-D6E8-4B12-BF39-19A91FDA6E8E}" srcOrd="3" destOrd="0" presId="urn:microsoft.com/office/officeart/2005/8/layout/lProcess2"/>
    <dgm:cxn modelId="{FEC89237-309C-46C0-87A9-A4A57B303534}" type="presParOf" srcId="{E7D8B96F-F943-4394-90A9-EFBF8CFF13B1}" destId="{1D5779F1-1588-42CB-977D-42263C38AC82}" srcOrd="4" destOrd="0" presId="urn:microsoft.com/office/officeart/2005/8/layout/lProcess2"/>
    <dgm:cxn modelId="{F013E3C6-61E0-420E-84DB-ED004B6DDD31}" type="presParOf" srcId="{1D5779F1-1588-42CB-977D-42263C38AC82}" destId="{D4BFB511-B98E-4261-87F1-16CF72AD5479}" srcOrd="0" destOrd="0" presId="urn:microsoft.com/office/officeart/2005/8/layout/lProcess2"/>
    <dgm:cxn modelId="{DC15BEB9-B47A-40A0-97DD-0E94F3C70BF6}" type="presParOf" srcId="{1D5779F1-1588-42CB-977D-42263C38AC82}" destId="{431CC4A4-B48B-47C9-986E-59D4373C9973}" srcOrd="1" destOrd="0" presId="urn:microsoft.com/office/officeart/2005/8/layout/lProcess2"/>
    <dgm:cxn modelId="{92069F87-F0E2-4129-8E7A-065D2FB34508}" type="presParOf" srcId="{1D5779F1-1588-42CB-977D-42263C38AC82}" destId="{C16442D1-87FD-4060-B167-E65F2D25FE30}" srcOrd="2" destOrd="0" presId="urn:microsoft.com/office/officeart/2005/8/layout/lProcess2"/>
    <dgm:cxn modelId="{1E7E7CF1-4C33-4108-AFE0-A4EE60D2A935}" type="presParOf" srcId="{C16442D1-87FD-4060-B167-E65F2D25FE30}" destId="{6C82F1F8-91B3-45CF-8BE9-DC07DF7EDB93}" srcOrd="0" destOrd="0" presId="urn:microsoft.com/office/officeart/2005/8/layout/lProcess2"/>
    <dgm:cxn modelId="{AFD0E66A-869A-4AFA-B78E-3140B619A9C1}" type="presParOf" srcId="{6C82F1F8-91B3-45CF-8BE9-DC07DF7EDB93}" destId="{0EEA905C-A0AC-48EA-94D2-65CA241B1E81}" srcOrd="0" destOrd="0" presId="urn:microsoft.com/office/officeart/2005/8/layout/lProcess2"/>
    <dgm:cxn modelId="{84DF82F4-67CB-458A-B018-38AE2E37BA9A}" type="presParOf" srcId="{6C82F1F8-91B3-45CF-8BE9-DC07DF7EDB93}" destId="{50C63F4C-5971-431D-AEAF-B7F82242DFA1}" srcOrd="1" destOrd="0" presId="urn:microsoft.com/office/officeart/2005/8/layout/lProcess2"/>
    <dgm:cxn modelId="{F07F7AEA-6AC4-4F2E-8623-D5B97289D9EF}" type="presParOf" srcId="{6C82F1F8-91B3-45CF-8BE9-DC07DF7EDB93}" destId="{9F96E5F8-EDC8-499E-BFF9-D0B19105B5C3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AC12629-D917-4ED6-830A-7D12C50405A3}" type="doc">
      <dgm:prSet loTypeId="urn:microsoft.com/office/officeart/2005/8/layout/hierarchy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41C4CD61-9928-44F0-AD56-E89C5B56D9DA}">
      <dgm:prSet custT="1"/>
      <dgm:spPr/>
      <dgm:t>
        <a:bodyPr anchor="t"/>
        <a:lstStyle/>
        <a:p>
          <a:pPr algn="l"/>
          <a:r>
            <a:rPr lang="da-DK" sz="1200" dirty="0">
              <a:latin typeface="Cambria Math" panose="02040503050406030204" pitchFamily="18" charset="0"/>
              <a:ea typeface="Cambria Math" panose="02040503050406030204" pitchFamily="18" charset="0"/>
            </a:rPr>
            <a:t>Der faktureres generelt ved hvert månedsluk, og derfor regnes datafrekvensen som månedlig.</a:t>
          </a:r>
        </a:p>
      </dgm:t>
    </dgm:pt>
    <dgm:pt modelId="{9F002F63-C005-42DB-A275-4B34E943C742}" type="parTrans" cxnId="{62B72136-C032-49E5-A034-DCFF1C1857A6}">
      <dgm:prSet/>
      <dgm:spPr/>
      <dgm:t>
        <a:bodyPr/>
        <a:lstStyle/>
        <a:p>
          <a:endParaRPr lang="da-DK"/>
        </a:p>
      </dgm:t>
    </dgm:pt>
    <dgm:pt modelId="{CD59028E-F2A0-4C79-95F5-1E9BD7BB9D0A}" type="sibTrans" cxnId="{62B72136-C032-49E5-A034-DCFF1C1857A6}">
      <dgm:prSet/>
      <dgm:spPr/>
      <dgm:t>
        <a:bodyPr/>
        <a:lstStyle/>
        <a:p>
          <a:endParaRPr lang="da-DK"/>
        </a:p>
      </dgm:t>
    </dgm:pt>
    <dgm:pt modelId="{AACB6215-D01A-4BCA-93E3-26469E237134}">
      <dgm:prSet custT="1"/>
      <dgm:spPr/>
      <dgm:t>
        <a:bodyPr anchor="t"/>
        <a:lstStyle/>
        <a:p>
          <a:pPr algn="l"/>
          <a:r>
            <a:rPr lang="da-DK" sz="1200" dirty="0">
              <a:latin typeface="Cambria Math" panose="02040503050406030204" pitchFamily="18" charset="0"/>
              <a:ea typeface="Cambria Math" panose="02040503050406030204" pitchFamily="18" charset="0"/>
            </a:rPr>
            <a:t>Budgetter i form af salgsskøn ved tilbudsfasen, produktionsomkostningsskøn under indkøbs-processen og et endeligt skøn i byggefasen.</a:t>
          </a:r>
        </a:p>
      </dgm:t>
    </dgm:pt>
    <dgm:pt modelId="{93A6D771-3178-45F7-91B4-75E112389051}" type="parTrans" cxnId="{9C4FBD6A-3FF5-4FC0-83B6-EE773D51DA9E}">
      <dgm:prSet/>
      <dgm:spPr/>
      <dgm:t>
        <a:bodyPr/>
        <a:lstStyle/>
        <a:p>
          <a:endParaRPr lang="da-DK"/>
        </a:p>
      </dgm:t>
    </dgm:pt>
    <dgm:pt modelId="{5A83EC3D-6943-46F3-B052-8222D3D3A3B4}" type="sibTrans" cxnId="{9C4FBD6A-3FF5-4FC0-83B6-EE773D51DA9E}">
      <dgm:prSet/>
      <dgm:spPr/>
      <dgm:t>
        <a:bodyPr/>
        <a:lstStyle/>
        <a:p>
          <a:endParaRPr lang="da-DK"/>
        </a:p>
      </dgm:t>
    </dgm:pt>
    <dgm:pt modelId="{E97BDCCF-EF46-4801-8CCC-B9B0AEE6BF3E}">
      <dgm:prSet custT="1"/>
      <dgm:spPr/>
      <dgm:t>
        <a:bodyPr anchor="t"/>
        <a:lstStyle/>
        <a:p>
          <a:pPr algn="l"/>
          <a:r>
            <a:rPr lang="da-DK" sz="1200" dirty="0">
              <a:latin typeface="Cambria Math" panose="02040503050406030204" pitchFamily="18" charset="0"/>
              <a:ea typeface="Cambria Math" panose="02040503050406030204" pitchFamily="18" charset="0"/>
            </a:rPr>
            <a:t>Under byggeprocessen beregnes forventede indtægter ved at justere påløbne omkostninger mod budget-margenen.</a:t>
          </a:r>
        </a:p>
      </dgm:t>
    </dgm:pt>
    <dgm:pt modelId="{754BF3E0-EE0E-41C1-A3A1-D18C15013F1D}" type="parTrans" cxnId="{54D42311-6B01-4CD0-A8AA-0C0FEA4B892F}">
      <dgm:prSet/>
      <dgm:spPr/>
      <dgm:t>
        <a:bodyPr/>
        <a:lstStyle/>
        <a:p>
          <a:endParaRPr lang="da-DK"/>
        </a:p>
      </dgm:t>
    </dgm:pt>
    <dgm:pt modelId="{A88B69BB-8C5F-4CAC-B526-C1CE5D10E5D1}" type="sibTrans" cxnId="{54D42311-6B01-4CD0-A8AA-0C0FEA4B892F}">
      <dgm:prSet/>
      <dgm:spPr/>
      <dgm:t>
        <a:bodyPr/>
        <a:lstStyle/>
        <a:p>
          <a:endParaRPr lang="da-DK"/>
        </a:p>
      </dgm:t>
    </dgm:pt>
    <dgm:pt modelId="{E3139E47-A857-44BB-9883-2B0007CE6609}">
      <dgm:prSet/>
      <dgm:spPr/>
      <dgm:t>
        <a:bodyPr/>
        <a:lstStyle/>
        <a:p>
          <a:r>
            <a:rPr lang="da-DK" b="1" dirty="0">
              <a:latin typeface="+mn-lt"/>
              <a:ea typeface="Cambria Math" panose="02040503050406030204" pitchFamily="18" charset="0"/>
            </a:rPr>
            <a:t>Tidsregistreringer</a:t>
          </a:r>
        </a:p>
      </dgm:t>
    </dgm:pt>
    <dgm:pt modelId="{95EA99FC-30D1-40BF-B07F-E028D8829FDC}" type="parTrans" cxnId="{AF208710-8589-4030-A329-DE47F2344EE9}">
      <dgm:prSet/>
      <dgm:spPr/>
      <dgm:t>
        <a:bodyPr/>
        <a:lstStyle/>
        <a:p>
          <a:endParaRPr lang="da-DK"/>
        </a:p>
      </dgm:t>
    </dgm:pt>
    <dgm:pt modelId="{F0568A0A-715C-46D7-8373-037F3BFC4BAF}" type="sibTrans" cxnId="{AF208710-8589-4030-A329-DE47F2344EE9}">
      <dgm:prSet/>
      <dgm:spPr/>
      <dgm:t>
        <a:bodyPr/>
        <a:lstStyle/>
        <a:p>
          <a:endParaRPr lang="da-DK"/>
        </a:p>
      </dgm:t>
    </dgm:pt>
    <dgm:pt modelId="{32303D13-0F03-48F5-8C76-8BD0FAAE86B3}">
      <dgm:prSet custT="1"/>
      <dgm:spPr/>
      <dgm:t>
        <a:bodyPr anchor="t"/>
        <a:lstStyle/>
        <a:p>
          <a:pPr algn="l"/>
          <a:r>
            <a:rPr lang="da-DK" sz="1200" dirty="0">
              <a:latin typeface="Cambria Math" panose="02040503050406030204" pitchFamily="18" charset="0"/>
              <a:ea typeface="Cambria Math" panose="02040503050406030204" pitchFamily="18" charset="0"/>
            </a:rPr>
            <a:t>Start- og slutdato bruges til at modellere s-kurver, og sammenlignes med det faktiske fremskridt.</a:t>
          </a:r>
        </a:p>
      </dgm:t>
    </dgm:pt>
    <dgm:pt modelId="{1C9F8A63-F944-4D66-B714-7ED1A6C17E80}" type="parTrans" cxnId="{7E62092F-8C58-44E4-ADAB-BC77A897618B}">
      <dgm:prSet/>
      <dgm:spPr/>
      <dgm:t>
        <a:bodyPr/>
        <a:lstStyle/>
        <a:p>
          <a:endParaRPr lang="da-DK"/>
        </a:p>
      </dgm:t>
    </dgm:pt>
    <dgm:pt modelId="{DABA5A9E-2C3B-4FB7-B91A-D11BB60B4BDF}" type="sibTrans" cxnId="{7E62092F-8C58-44E4-ADAB-BC77A897618B}">
      <dgm:prSet/>
      <dgm:spPr/>
      <dgm:t>
        <a:bodyPr/>
        <a:lstStyle/>
        <a:p>
          <a:endParaRPr lang="da-DK"/>
        </a:p>
      </dgm:t>
    </dgm:pt>
    <dgm:pt modelId="{75C119DD-D4E8-4EAB-87B6-D7ACB17DC52C}">
      <dgm:prSet custT="1"/>
      <dgm:spPr/>
      <dgm:t>
        <a:bodyPr anchor="t"/>
        <a:lstStyle/>
        <a:p>
          <a:pPr algn="l"/>
          <a:r>
            <a:rPr lang="da-DK" sz="1200" dirty="0">
              <a:latin typeface="Cambria Math" panose="02040503050406030204" pitchFamily="18" charset="0"/>
              <a:ea typeface="Cambria Math" panose="02040503050406030204" pitchFamily="18" charset="0"/>
            </a:rPr>
            <a:t>Makroøkonomiske indikatorer fra DST som tillidsindikatorer og sektor-specifikke begrænsninger. </a:t>
          </a:r>
        </a:p>
      </dgm:t>
    </dgm:pt>
    <dgm:pt modelId="{FB15F3A1-4BCD-4CB0-BD84-6BF33F7E50CC}" type="parTrans" cxnId="{73FC56DE-1B39-4004-9C97-6A8B537BC97B}">
      <dgm:prSet/>
      <dgm:spPr/>
      <dgm:t>
        <a:bodyPr/>
        <a:lstStyle/>
        <a:p>
          <a:endParaRPr lang="da-DK"/>
        </a:p>
      </dgm:t>
    </dgm:pt>
    <dgm:pt modelId="{58307303-17E0-4EEB-A5B8-65A2392E69E4}" type="sibTrans" cxnId="{73FC56DE-1B39-4004-9C97-6A8B537BC97B}">
      <dgm:prSet/>
      <dgm:spPr/>
      <dgm:t>
        <a:bodyPr/>
        <a:lstStyle/>
        <a:p>
          <a:endParaRPr lang="da-DK"/>
        </a:p>
      </dgm:t>
    </dgm:pt>
    <dgm:pt modelId="{F04F6A3D-2D6C-4A91-8C5C-C7638C5AF325}">
      <dgm:prSet phldrT="[Tekst]"/>
      <dgm:spPr/>
      <dgm:t>
        <a:bodyPr/>
        <a:lstStyle/>
        <a:p>
          <a:r>
            <a:rPr lang="da-DK" b="1" dirty="0">
              <a:latin typeface="+mn-lt"/>
              <a:ea typeface="Cambria Math" panose="02040503050406030204" pitchFamily="18" charset="0"/>
            </a:rPr>
            <a:t>Indtægter, udgifter, lønninger og materialeomkostninger</a:t>
          </a:r>
        </a:p>
      </dgm:t>
    </dgm:pt>
    <dgm:pt modelId="{A6A8971E-6267-41CA-A2CE-81AF5B16991A}" type="parTrans" cxnId="{8A3A1512-4564-428E-AA55-D8919AAC0572}">
      <dgm:prSet/>
      <dgm:spPr/>
      <dgm:t>
        <a:bodyPr/>
        <a:lstStyle/>
        <a:p>
          <a:endParaRPr lang="da-DK"/>
        </a:p>
      </dgm:t>
    </dgm:pt>
    <dgm:pt modelId="{8B07700B-A405-4F76-A795-3DB6FFB3237B}" type="sibTrans" cxnId="{8A3A1512-4564-428E-AA55-D8919AAC0572}">
      <dgm:prSet/>
      <dgm:spPr/>
      <dgm:t>
        <a:bodyPr/>
        <a:lstStyle/>
        <a:p>
          <a:endParaRPr lang="da-DK"/>
        </a:p>
      </dgm:t>
    </dgm:pt>
    <dgm:pt modelId="{3EF6EF3B-C984-4713-A9CF-5BF5D38F5312}">
      <dgm:prSet custT="1"/>
      <dgm:spPr/>
      <dgm:t>
        <a:bodyPr anchor="t"/>
        <a:lstStyle/>
        <a:p>
          <a:pPr algn="l"/>
          <a:r>
            <a:rPr lang="da-DK" sz="1200" dirty="0">
              <a:latin typeface="Cambria Math" panose="02040503050406030204" pitchFamily="18" charset="0"/>
              <a:ea typeface="Cambria Math" panose="02040503050406030204" pitchFamily="18" charset="0"/>
            </a:rPr>
            <a:t>Fakturerbare timer, sygefravær og interne timer bruges til at vurdere produktiviteten på afdelings-niveau. Fakturerbare timer kobles på projektniveau.</a:t>
          </a:r>
        </a:p>
      </dgm:t>
    </dgm:pt>
    <dgm:pt modelId="{4FE32FFE-AD1B-4A9F-9706-E4EC3426B2E9}" type="parTrans" cxnId="{18A7620F-37C9-4C3B-BC08-3861CC1C3D39}">
      <dgm:prSet/>
      <dgm:spPr/>
      <dgm:t>
        <a:bodyPr/>
        <a:lstStyle/>
        <a:p>
          <a:endParaRPr lang="da-DK"/>
        </a:p>
      </dgm:t>
    </dgm:pt>
    <dgm:pt modelId="{8C8E4361-4FF3-453B-A277-27A2328F50B7}" type="sibTrans" cxnId="{18A7620F-37C9-4C3B-BC08-3861CC1C3D39}">
      <dgm:prSet/>
      <dgm:spPr/>
      <dgm:t>
        <a:bodyPr/>
        <a:lstStyle/>
        <a:p>
          <a:endParaRPr lang="da-DK"/>
        </a:p>
      </dgm:t>
    </dgm:pt>
    <dgm:pt modelId="{A25F30E4-B13C-44B2-BCB5-2A3414206A4E}">
      <dgm:prSet/>
      <dgm:spPr/>
      <dgm:t>
        <a:bodyPr/>
        <a:lstStyle/>
        <a:p>
          <a:r>
            <a:rPr lang="da-DK" b="1" dirty="0">
              <a:latin typeface="+mn-lt"/>
              <a:ea typeface="Cambria Math" panose="02040503050406030204" pitchFamily="18" charset="0"/>
            </a:rPr>
            <a:t>Prognoser</a:t>
          </a:r>
        </a:p>
      </dgm:t>
    </dgm:pt>
    <dgm:pt modelId="{DFA929A7-B5DE-4014-9DFA-0F839209CE37}" type="parTrans" cxnId="{5B0923D2-2876-4905-BF12-90B8C83FEA27}">
      <dgm:prSet/>
      <dgm:spPr/>
      <dgm:t>
        <a:bodyPr/>
        <a:lstStyle/>
        <a:p>
          <a:endParaRPr lang="da-DK"/>
        </a:p>
      </dgm:t>
    </dgm:pt>
    <dgm:pt modelId="{1C62F00A-BB75-489C-B939-E42315B30488}" type="sibTrans" cxnId="{5B0923D2-2876-4905-BF12-90B8C83FEA27}">
      <dgm:prSet/>
      <dgm:spPr/>
      <dgm:t>
        <a:bodyPr/>
        <a:lstStyle/>
        <a:p>
          <a:endParaRPr lang="da-DK"/>
        </a:p>
      </dgm:t>
    </dgm:pt>
    <dgm:pt modelId="{BDFD4CAB-7F35-4D74-8F1E-6031394F04B1}">
      <dgm:prSet/>
      <dgm:spPr/>
      <dgm:t>
        <a:bodyPr/>
        <a:lstStyle/>
        <a:p>
          <a:r>
            <a:rPr lang="da-DK" b="1" dirty="0">
              <a:latin typeface="+mn-lt"/>
              <a:ea typeface="Cambria Math" panose="02040503050406030204" pitchFamily="18" charset="0"/>
            </a:rPr>
            <a:t>DST</a:t>
          </a:r>
        </a:p>
      </dgm:t>
    </dgm:pt>
    <dgm:pt modelId="{8021D522-C5B5-494C-B6DC-5D04574E9775}" type="parTrans" cxnId="{EAB1C783-4CFB-496C-916C-D6EA3E3DDE72}">
      <dgm:prSet/>
      <dgm:spPr/>
      <dgm:t>
        <a:bodyPr/>
        <a:lstStyle/>
        <a:p>
          <a:endParaRPr lang="da-DK"/>
        </a:p>
      </dgm:t>
    </dgm:pt>
    <dgm:pt modelId="{FFEF5BB6-D8F8-4F7A-962F-ABE3D8644470}" type="sibTrans" cxnId="{EAB1C783-4CFB-496C-916C-D6EA3E3DDE72}">
      <dgm:prSet/>
      <dgm:spPr/>
      <dgm:t>
        <a:bodyPr/>
        <a:lstStyle/>
        <a:p>
          <a:endParaRPr lang="da-DK"/>
        </a:p>
      </dgm:t>
    </dgm:pt>
    <dgm:pt modelId="{2FD0C11E-55F7-4B62-8F24-3E412F437549}">
      <dgm:prSet custT="1"/>
      <dgm:spPr/>
      <dgm:t>
        <a:bodyPr anchor="t"/>
        <a:lstStyle/>
        <a:p>
          <a:pPr algn="l"/>
          <a:r>
            <a:rPr lang="da-DK" sz="1200" dirty="0">
              <a:latin typeface="Cambria Math" panose="02040503050406030204" pitchFamily="18" charset="0"/>
              <a:ea typeface="Cambria Math" panose="02040503050406030204" pitchFamily="18" charset="0"/>
            </a:rPr>
            <a:t>Risiko beregnes ved at normalisere afvigelser for fremskridtprognoser i forhold til produktions-omkostningsskøn.</a:t>
          </a:r>
        </a:p>
      </dgm:t>
    </dgm:pt>
    <dgm:pt modelId="{BBAFB03B-B699-4864-86C3-9272803D3545}" type="parTrans" cxnId="{4F4C2F8C-9926-45EA-B07E-D7083F912428}">
      <dgm:prSet/>
      <dgm:spPr/>
      <dgm:t>
        <a:bodyPr/>
        <a:lstStyle/>
        <a:p>
          <a:endParaRPr lang="da-DK"/>
        </a:p>
      </dgm:t>
    </dgm:pt>
    <dgm:pt modelId="{5824E341-5181-4D1E-BA90-ADE157B4C993}" type="sibTrans" cxnId="{4F4C2F8C-9926-45EA-B07E-D7083F912428}">
      <dgm:prSet/>
      <dgm:spPr/>
      <dgm:t>
        <a:bodyPr/>
        <a:lstStyle/>
        <a:p>
          <a:endParaRPr lang="da-DK"/>
        </a:p>
      </dgm:t>
    </dgm:pt>
    <dgm:pt modelId="{A711A80F-9616-4CEF-B06A-A04270930074}" type="pres">
      <dgm:prSet presAssocID="{3AC12629-D917-4ED6-830A-7D12C50405A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EE73E446-4E56-4DC0-8D49-D1C33C7D0BA4}" type="pres">
      <dgm:prSet presAssocID="{F04F6A3D-2D6C-4A91-8C5C-C7638C5AF325}" presName="vertOne" presStyleCnt="0"/>
      <dgm:spPr/>
    </dgm:pt>
    <dgm:pt modelId="{11FCB6D9-E719-4940-9CE0-8F88900B39CD}" type="pres">
      <dgm:prSet presAssocID="{F04F6A3D-2D6C-4A91-8C5C-C7638C5AF325}" presName="txOne" presStyleLbl="node0" presStyleIdx="0" presStyleCnt="4" custScaleY="21733" custLinFactNeighborX="-49" custLinFactNeighborY="72889">
        <dgm:presLayoutVars>
          <dgm:chPref val="3"/>
        </dgm:presLayoutVars>
      </dgm:prSet>
      <dgm:spPr/>
    </dgm:pt>
    <dgm:pt modelId="{D78A1A2D-4E24-4BBE-9CDF-974498BE70EC}" type="pres">
      <dgm:prSet presAssocID="{F04F6A3D-2D6C-4A91-8C5C-C7638C5AF325}" presName="parTransOne" presStyleCnt="0"/>
      <dgm:spPr/>
    </dgm:pt>
    <dgm:pt modelId="{2EC4F8C6-6783-402F-9FEB-EF7F0325312D}" type="pres">
      <dgm:prSet presAssocID="{F04F6A3D-2D6C-4A91-8C5C-C7638C5AF325}" presName="horzOne" presStyleCnt="0"/>
      <dgm:spPr/>
    </dgm:pt>
    <dgm:pt modelId="{339BFCDA-F39F-4435-8F59-B73828F1EB64}" type="pres">
      <dgm:prSet presAssocID="{41C4CD61-9928-44F0-AD56-E89C5B56D9DA}" presName="vertTwo" presStyleCnt="0"/>
      <dgm:spPr/>
    </dgm:pt>
    <dgm:pt modelId="{FB743D6A-0850-49DE-AADF-AF77FF476C3D}" type="pres">
      <dgm:prSet presAssocID="{41C4CD61-9928-44F0-AD56-E89C5B56D9DA}" presName="txTwo" presStyleLbl="node2" presStyleIdx="0" presStyleCnt="7" custScaleX="106754" custScaleY="163592">
        <dgm:presLayoutVars>
          <dgm:chPref val="3"/>
        </dgm:presLayoutVars>
      </dgm:prSet>
      <dgm:spPr/>
    </dgm:pt>
    <dgm:pt modelId="{05F4637F-58FC-4B54-85E9-5F20A12BB326}" type="pres">
      <dgm:prSet presAssocID="{41C4CD61-9928-44F0-AD56-E89C5B56D9DA}" presName="horzTwo" presStyleCnt="0"/>
      <dgm:spPr/>
    </dgm:pt>
    <dgm:pt modelId="{5C870C20-35B7-4BD1-97FE-5D0C116F2983}" type="pres">
      <dgm:prSet presAssocID="{CD59028E-F2A0-4C79-95F5-1E9BD7BB9D0A}" presName="sibSpaceTwo" presStyleCnt="0"/>
      <dgm:spPr/>
    </dgm:pt>
    <dgm:pt modelId="{8D7B7C7E-8ECE-4E0C-AB38-83281482B87C}" type="pres">
      <dgm:prSet presAssocID="{AACB6215-D01A-4BCA-93E3-26469E237134}" presName="vertTwo" presStyleCnt="0"/>
      <dgm:spPr/>
    </dgm:pt>
    <dgm:pt modelId="{10F48E5C-6F09-452A-AC05-8DB45C7C9E27}" type="pres">
      <dgm:prSet presAssocID="{AACB6215-D01A-4BCA-93E3-26469E237134}" presName="txTwo" presStyleLbl="node2" presStyleIdx="1" presStyleCnt="7" custScaleX="106754" custScaleY="163592">
        <dgm:presLayoutVars>
          <dgm:chPref val="3"/>
        </dgm:presLayoutVars>
      </dgm:prSet>
      <dgm:spPr/>
    </dgm:pt>
    <dgm:pt modelId="{FB4AF80F-2E61-4F18-BE92-CBE8D3FA8135}" type="pres">
      <dgm:prSet presAssocID="{AACB6215-D01A-4BCA-93E3-26469E237134}" presName="horzTwo" presStyleCnt="0"/>
      <dgm:spPr/>
    </dgm:pt>
    <dgm:pt modelId="{BDD9AB49-F83A-4065-8B13-6BB04F276D70}" type="pres">
      <dgm:prSet presAssocID="{5A83EC3D-6943-46F3-B052-8222D3D3A3B4}" presName="sibSpaceTwo" presStyleCnt="0"/>
      <dgm:spPr/>
    </dgm:pt>
    <dgm:pt modelId="{4F068317-F2E0-40CC-AF38-3994D490075F}" type="pres">
      <dgm:prSet presAssocID="{E97BDCCF-EF46-4801-8CCC-B9B0AEE6BF3E}" presName="vertTwo" presStyleCnt="0"/>
      <dgm:spPr/>
    </dgm:pt>
    <dgm:pt modelId="{C4C1E87D-9626-40A0-8926-90A563D7250F}" type="pres">
      <dgm:prSet presAssocID="{E97BDCCF-EF46-4801-8CCC-B9B0AEE6BF3E}" presName="txTwo" presStyleLbl="node2" presStyleIdx="2" presStyleCnt="7" custScaleX="106754" custScaleY="163592">
        <dgm:presLayoutVars>
          <dgm:chPref val="3"/>
        </dgm:presLayoutVars>
      </dgm:prSet>
      <dgm:spPr/>
    </dgm:pt>
    <dgm:pt modelId="{16DB737D-BE4B-4D16-B50E-83993532BDCC}" type="pres">
      <dgm:prSet presAssocID="{E97BDCCF-EF46-4801-8CCC-B9B0AEE6BF3E}" presName="horzTwo" presStyleCnt="0"/>
      <dgm:spPr/>
    </dgm:pt>
    <dgm:pt modelId="{2BB2552C-2AEA-4590-B27D-E9BC63D22740}" type="pres">
      <dgm:prSet presAssocID="{8B07700B-A405-4F76-A795-3DB6FFB3237B}" presName="sibSpaceOne" presStyleCnt="0"/>
      <dgm:spPr/>
    </dgm:pt>
    <dgm:pt modelId="{31FBD731-2135-4771-B3B3-5BA4B8A66B3A}" type="pres">
      <dgm:prSet presAssocID="{E3139E47-A857-44BB-9883-2B0007CE6609}" presName="vertOne" presStyleCnt="0"/>
      <dgm:spPr/>
    </dgm:pt>
    <dgm:pt modelId="{69F3511A-F7D2-4739-90BA-3EEA8B0355DE}" type="pres">
      <dgm:prSet presAssocID="{E3139E47-A857-44BB-9883-2B0007CE6609}" presName="txOne" presStyleLbl="node0" presStyleIdx="1" presStyleCnt="4" custScaleY="21733" custLinFactNeighborY="70169">
        <dgm:presLayoutVars>
          <dgm:chPref val="3"/>
        </dgm:presLayoutVars>
      </dgm:prSet>
      <dgm:spPr/>
    </dgm:pt>
    <dgm:pt modelId="{E3582A13-BFF3-49C1-A490-DE2F714F9A00}" type="pres">
      <dgm:prSet presAssocID="{E3139E47-A857-44BB-9883-2B0007CE6609}" presName="parTransOne" presStyleCnt="0"/>
      <dgm:spPr/>
    </dgm:pt>
    <dgm:pt modelId="{CD42540E-86EA-4D72-8D06-2555020C11E9}" type="pres">
      <dgm:prSet presAssocID="{E3139E47-A857-44BB-9883-2B0007CE6609}" presName="horzOne" presStyleCnt="0"/>
      <dgm:spPr/>
    </dgm:pt>
    <dgm:pt modelId="{BFA7F1D2-1CF8-4620-97AC-BF234FCD521A}" type="pres">
      <dgm:prSet presAssocID="{3EF6EF3B-C984-4713-A9CF-5BF5D38F5312}" presName="vertTwo" presStyleCnt="0"/>
      <dgm:spPr/>
    </dgm:pt>
    <dgm:pt modelId="{08BB452B-C253-4F2B-BE62-D7D18CBD4ED9}" type="pres">
      <dgm:prSet presAssocID="{3EF6EF3B-C984-4713-A9CF-5BF5D38F5312}" presName="txTwo" presStyleLbl="node2" presStyleIdx="3" presStyleCnt="7" custScaleX="106545" custScaleY="163592">
        <dgm:presLayoutVars>
          <dgm:chPref val="3"/>
        </dgm:presLayoutVars>
      </dgm:prSet>
      <dgm:spPr/>
    </dgm:pt>
    <dgm:pt modelId="{78995231-7438-4C80-B24B-63DA84AB15B1}" type="pres">
      <dgm:prSet presAssocID="{3EF6EF3B-C984-4713-A9CF-5BF5D38F5312}" presName="horzTwo" presStyleCnt="0"/>
      <dgm:spPr/>
    </dgm:pt>
    <dgm:pt modelId="{3559199B-323D-45F6-AC5E-E990CBC63E21}" type="pres">
      <dgm:prSet presAssocID="{F0568A0A-715C-46D7-8373-037F3BFC4BAF}" presName="sibSpaceOne" presStyleCnt="0"/>
      <dgm:spPr/>
    </dgm:pt>
    <dgm:pt modelId="{D1506616-99B6-4BF6-B1BA-A84D3376E01B}" type="pres">
      <dgm:prSet presAssocID="{A25F30E4-B13C-44B2-BCB5-2A3414206A4E}" presName="vertOne" presStyleCnt="0"/>
      <dgm:spPr/>
    </dgm:pt>
    <dgm:pt modelId="{931F6CD7-0A0D-4D39-9326-F27137E50093}" type="pres">
      <dgm:prSet presAssocID="{A25F30E4-B13C-44B2-BCB5-2A3414206A4E}" presName="txOne" presStyleLbl="node0" presStyleIdx="2" presStyleCnt="4" custScaleY="21733" custLinFactNeighborY="70169">
        <dgm:presLayoutVars>
          <dgm:chPref val="3"/>
        </dgm:presLayoutVars>
      </dgm:prSet>
      <dgm:spPr/>
    </dgm:pt>
    <dgm:pt modelId="{8A9ECB28-8C6F-41FB-9F0A-D6109EF97421}" type="pres">
      <dgm:prSet presAssocID="{A25F30E4-B13C-44B2-BCB5-2A3414206A4E}" presName="parTransOne" presStyleCnt="0"/>
      <dgm:spPr/>
    </dgm:pt>
    <dgm:pt modelId="{A766448B-BE98-446D-A8E0-572F7D2EE073}" type="pres">
      <dgm:prSet presAssocID="{A25F30E4-B13C-44B2-BCB5-2A3414206A4E}" presName="horzOne" presStyleCnt="0"/>
      <dgm:spPr/>
    </dgm:pt>
    <dgm:pt modelId="{46190ACC-94FB-4E5B-9C7F-5155642B1940}" type="pres">
      <dgm:prSet presAssocID="{32303D13-0F03-48F5-8C76-8BD0FAAE86B3}" presName="vertTwo" presStyleCnt="0"/>
      <dgm:spPr/>
    </dgm:pt>
    <dgm:pt modelId="{18B5AA2A-2848-4698-B202-BE835A409BE2}" type="pres">
      <dgm:prSet presAssocID="{32303D13-0F03-48F5-8C76-8BD0FAAE86B3}" presName="txTwo" presStyleLbl="node2" presStyleIdx="4" presStyleCnt="7" custScaleX="106649" custScaleY="163592">
        <dgm:presLayoutVars>
          <dgm:chPref val="3"/>
        </dgm:presLayoutVars>
      </dgm:prSet>
      <dgm:spPr/>
    </dgm:pt>
    <dgm:pt modelId="{E1C93E0B-D839-4B8A-955E-02F2A53FE250}" type="pres">
      <dgm:prSet presAssocID="{32303D13-0F03-48F5-8C76-8BD0FAAE86B3}" presName="horzTwo" presStyleCnt="0"/>
      <dgm:spPr/>
    </dgm:pt>
    <dgm:pt modelId="{5CD21DC2-8CFE-4011-B295-0CA6540FC00D}" type="pres">
      <dgm:prSet presAssocID="{DABA5A9E-2C3B-4FB7-B91A-D11BB60B4BDF}" presName="sibSpaceTwo" presStyleCnt="0"/>
      <dgm:spPr/>
    </dgm:pt>
    <dgm:pt modelId="{FE9D4FB5-02FC-43FA-8B68-6DF4508124D3}" type="pres">
      <dgm:prSet presAssocID="{2FD0C11E-55F7-4B62-8F24-3E412F437549}" presName="vertTwo" presStyleCnt="0"/>
      <dgm:spPr/>
    </dgm:pt>
    <dgm:pt modelId="{18444BD2-8CDD-406D-B758-CFC4E4FC17AA}" type="pres">
      <dgm:prSet presAssocID="{2FD0C11E-55F7-4B62-8F24-3E412F437549}" presName="txTwo" presStyleLbl="node2" presStyleIdx="5" presStyleCnt="7" custScaleX="106649" custScaleY="163592">
        <dgm:presLayoutVars>
          <dgm:chPref val="3"/>
        </dgm:presLayoutVars>
      </dgm:prSet>
      <dgm:spPr/>
    </dgm:pt>
    <dgm:pt modelId="{32552171-AE10-4B5F-BA91-88F4D9BD5691}" type="pres">
      <dgm:prSet presAssocID="{2FD0C11E-55F7-4B62-8F24-3E412F437549}" presName="horzTwo" presStyleCnt="0"/>
      <dgm:spPr/>
    </dgm:pt>
    <dgm:pt modelId="{3F359494-9332-41F1-B42E-5465AE67DC68}" type="pres">
      <dgm:prSet presAssocID="{1C62F00A-BB75-489C-B939-E42315B30488}" presName="sibSpaceOne" presStyleCnt="0"/>
      <dgm:spPr/>
    </dgm:pt>
    <dgm:pt modelId="{0B87A814-780A-4543-8EF1-48BC1F04BE35}" type="pres">
      <dgm:prSet presAssocID="{BDFD4CAB-7F35-4D74-8F1E-6031394F04B1}" presName="vertOne" presStyleCnt="0"/>
      <dgm:spPr/>
    </dgm:pt>
    <dgm:pt modelId="{2BABC19B-580E-4100-A5D2-F6E254B7590B}" type="pres">
      <dgm:prSet presAssocID="{BDFD4CAB-7F35-4D74-8F1E-6031394F04B1}" presName="txOne" presStyleLbl="node0" presStyleIdx="3" presStyleCnt="4" custScaleY="21733" custLinFactNeighborY="70169">
        <dgm:presLayoutVars>
          <dgm:chPref val="3"/>
        </dgm:presLayoutVars>
      </dgm:prSet>
      <dgm:spPr/>
    </dgm:pt>
    <dgm:pt modelId="{10739CA9-72AF-4BC5-9306-4C50F9974C88}" type="pres">
      <dgm:prSet presAssocID="{BDFD4CAB-7F35-4D74-8F1E-6031394F04B1}" presName="parTransOne" presStyleCnt="0"/>
      <dgm:spPr/>
    </dgm:pt>
    <dgm:pt modelId="{2CE7685D-0C40-4994-9CB7-56BC17151311}" type="pres">
      <dgm:prSet presAssocID="{BDFD4CAB-7F35-4D74-8F1E-6031394F04B1}" presName="horzOne" presStyleCnt="0"/>
      <dgm:spPr/>
    </dgm:pt>
    <dgm:pt modelId="{D406FACB-CAB5-42A8-93E9-B0448D08AA27}" type="pres">
      <dgm:prSet presAssocID="{75C119DD-D4E8-4EAB-87B6-D7ACB17DC52C}" presName="vertTwo" presStyleCnt="0"/>
      <dgm:spPr/>
    </dgm:pt>
    <dgm:pt modelId="{A321E7AC-1622-42A0-BC65-625B5DA6664E}" type="pres">
      <dgm:prSet presAssocID="{75C119DD-D4E8-4EAB-87B6-D7ACB17DC52C}" presName="txTwo" presStyleLbl="node2" presStyleIdx="6" presStyleCnt="7" custScaleX="106545" custScaleY="163592">
        <dgm:presLayoutVars>
          <dgm:chPref val="3"/>
        </dgm:presLayoutVars>
      </dgm:prSet>
      <dgm:spPr/>
    </dgm:pt>
    <dgm:pt modelId="{E8F217B5-1E8E-41C8-ACDF-7DC9DAA7FB98}" type="pres">
      <dgm:prSet presAssocID="{75C119DD-D4E8-4EAB-87B6-D7ACB17DC52C}" presName="horzTwo" presStyleCnt="0"/>
      <dgm:spPr/>
    </dgm:pt>
  </dgm:ptLst>
  <dgm:cxnLst>
    <dgm:cxn modelId="{18A7620F-37C9-4C3B-BC08-3861CC1C3D39}" srcId="{E3139E47-A857-44BB-9883-2B0007CE6609}" destId="{3EF6EF3B-C984-4713-A9CF-5BF5D38F5312}" srcOrd="0" destOrd="0" parTransId="{4FE32FFE-AD1B-4A9F-9706-E4EC3426B2E9}" sibTransId="{8C8E4361-4FF3-453B-A277-27A2328F50B7}"/>
    <dgm:cxn modelId="{AF208710-8589-4030-A329-DE47F2344EE9}" srcId="{3AC12629-D917-4ED6-830A-7D12C50405A3}" destId="{E3139E47-A857-44BB-9883-2B0007CE6609}" srcOrd="1" destOrd="0" parTransId="{95EA99FC-30D1-40BF-B07F-E028D8829FDC}" sibTransId="{F0568A0A-715C-46D7-8373-037F3BFC4BAF}"/>
    <dgm:cxn modelId="{54D42311-6B01-4CD0-A8AA-0C0FEA4B892F}" srcId="{F04F6A3D-2D6C-4A91-8C5C-C7638C5AF325}" destId="{E97BDCCF-EF46-4801-8CCC-B9B0AEE6BF3E}" srcOrd="2" destOrd="0" parTransId="{754BF3E0-EE0E-41C1-A3A1-D18C15013F1D}" sibTransId="{A88B69BB-8C5F-4CAC-B526-C1CE5D10E5D1}"/>
    <dgm:cxn modelId="{8A3A1512-4564-428E-AA55-D8919AAC0572}" srcId="{3AC12629-D917-4ED6-830A-7D12C50405A3}" destId="{F04F6A3D-2D6C-4A91-8C5C-C7638C5AF325}" srcOrd="0" destOrd="0" parTransId="{A6A8971E-6267-41CA-A2CE-81AF5B16991A}" sibTransId="{8B07700B-A405-4F76-A795-3DB6FFB3237B}"/>
    <dgm:cxn modelId="{053C8415-C6D8-478B-8EAF-9828CF2D32EC}" type="presOf" srcId="{AACB6215-D01A-4BCA-93E3-26469E237134}" destId="{10F48E5C-6F09-452A-AC05-8DB45C7C9E27}" srcOrd="0" destOrd="0" presId="urn:microsoft.com/office/officeart/2005/8/layout/hierarchy4"/>
    <dgm:cxn modelId="{557A5F1C-4E0D-40FF-A7C1-B7F537F2ED09}" type="presOf" srcId="{3EF6EF3B-C984-4713-A9CF-5BF5D38F5312}" destId="{08BB452B-C253-4F2B-BE62-D7D18CBD4ED9}" srcOrd="0" destOrd="0" presId="urn:microsoft.com/office/officeart/2005/8/layout/hierarchy4"/>
    <dgm:cxn modelId="{42D93E20-3417-4889-B92F-82C590863EE7}" type="presOf" srcId="{F04F6A3D-2D6C-4A91-8C5C-C7638C5AF325}" destId="{11FCB6D9-E719-4940-9CE0-8F88900B39CD}" srcOrd="0" destOrd="0" presId="urn:microsoft.com/office/officeart/2005/8/layout/hierarchy4"/>
    <dgm:cxn modelId="{571F4E22-F28A-40E6-8DB8-B353A59364AC}" type="presOf" srcId="{75C119DD-D4E8-4EAB-87B6-D7ACB17DC52C}" destId="{A321E7AC-1622-42A0-BC65-625B5DA6664E}" srcOrd="0" destOrd="0" presId="urn:microsoft.com/office/officeart/2005/8/layout/hierarchy4"/>
    <dgm:cxn modelId="{7E62092F-8C58-44E4-ADAB-BC77A897618B}" srcId="{A25F30E4-B13C-44B2-BCB5-2A3414206A4E}" destId="{32303D13-0F03-48F5-8C76-8BD0FAAE86B3}" srcOrd="0" destOrd="0" parTransId="{1C9F8A63-F944-4D66-B714-7ED1A6C17E80}" sibTransId="{DABA5A9E-2C3B-4FB7-B91A-D11BB60B4BDF}"/>
    <dgm:cxn modelId="{62B72136-C032-49E5-A034-DCFF1C1857A6}" srcId="{F04F6A3D-2D6C-4A91-8C5C-C7638C5AF325}" destId="{41C4CD61-9928-44F0-AD56-E89C5B56D9DA}" srcOrd="0" destOrd="0" parTransId="{9F002F63-C005-42DB-A275-4B34E943C742}" sibTransId="{CD59028E-F2A0-4C79-95F5-1E9BD7BB9D0A}"/>
    <dgm:cxn modelId="{66663962-8574-419F-AF4B-776450FBD1FF}" type="presOf" srcId="{E97BDCCF-EF46-4801-8CCC-B9B0AEE6BF3E}" destId="{C4C1E87D-9626-40A0-8926-90A563D7250F}" srcOrd="0" destOrd="0" presId="urn:microsoft.com/office/officeart/2005/8/layout/hierarchy4"/>
    <dgm:cxn modelId="{9C4FBD6A-3FF5-4FC0-83B6-EE773D51DA9E}" srcId="{F04F6A3D-2D6C-4A91-8C5C-C7638C5AF325}" destId="{AACB6215-D01A-4BCA-93E3-26469E237134}" srcOrd="1" destOrd="0" parTransId="{93A6D771-3178-45F7-91B4-75E112389051}" sibTransId="{5A83EC3D-6943-46F3-B052-8222D3D3A3B4}"/>
    <dgm:cxn modelId="{40BD0459-288F-4176-B75C-B6C00D68B91E}" type="presOf" srcId="{2FD0C11E-55F7-4B62-8F24-3E412F437549}" destId="{18444BD2-8CDD-406D-B758-CFC4E4FC17AA}" srcOrd="0" destOrd="0" presId="urn:microsoft.com/office/officeart/2005/8/layout/hierarchy4"/>
    <dgm:cxn modelId="{EAB1C783-4CFB-496C-916C-D6EA3E3DDE72}" srcId="{3AC12629-D917-4ED6-830A-7D12C50405A3}" destId="{BDFD4CAB-7F35-4D74-8F1E-6031394F04B1}" srcOrd="3" destOrd="0" parTransId="{8021D522-C5B5-494C-B6DC-5D04574E9775}" sibTransId="{FFEF5BB6-D8F8-4F7A-962F-ABE3D8644470}"/>
    <dgm:cxn modelId="{4F4C2F8C-9926-45EA-B07E-D7083F912428}" srcId="{A25F30E4-B13C-44B2-BCB5-2A3414206A4E}" destId="{2FD0C11E-55F7-4B62-8F24-3E412F437549}" srcOrd="1" destOrd="0" parTransId="{BBAFB03B-B699-4864-86C3-9272803D3545}" sibTransId="{5824E341-5181-4D1E-BA90-ADE157B4C993}"/>
    <dgm:cxn modelId="{9860D7B2-FF4B-4981-B4BF-C4F6A1EAD884}" type="presOf" srcId="{BDFD4CAB-7F35-4D74-8F1E-6031394F04B1}" destId="{2BABC19B-580E-4100-A5D2-F6E254B7590B}" srcOrd="0" destOrd="0" presId="urn:microsoft.com/office/officeart/2005/8/layout/hierarchy4"/>
    <dgm:cxn modelId="{36A842B7-E9D3-4C5A-9910-39F691329E50}" type="presOf" srcId="{E3139E47-A857-44BB-9883-2B0007CE6609}" destId="{69F3511A-F7D2-4739-90BA-3EEA8B0355DE}" srcOrd="0" destOrd="0" presId="urn:microsoft.com/office/officeart/2005/8/layout/hierarchy4"/>
    <dgm:cxn modelId="{5B0923D2-2876-4905-BF12-90B8C83FEA27}" srcId="{3AC12629-D917-4ED6-830A-7D12C50405A3}" destId="{A25F30E4-B13C-44B2-BCB5-2A3414206A4E}" srcOrd="2" destOrd="0" parTransId="{DFA929A7-B5DE-4014-9DFA-0F839209CE37}" sibTransId="{1C62F00A-BB75-489C-B939-E42315B30488}"/>
    <dgm:cxn modelId="{814D58D3-40F7-4738-83C3-0055B5BD3894}" type="presOf" srcId="{41C4CD61-9928-44F0-AD56-E89C5B56D9DA}" destId="{FB743D6A-0850-49DE-AADF-AF77FF476C3D}" srcOrd="0" destOrd="0" presId="urn:microsoft.com/office/officeart/2005/8/layout/hierarchy4"/>
    <dgm:cxn modelId="{CDB4A3D8-C091-474B-9CD8-7BA668D12F21}" type="presOf" srcId="{3AC12629-D917-4ED6-830A-7D12C50405A3}" destId="{A711A80F-9616-4CEF-B06A-A04270930074}" srcOrd="0" destOrd="0" presId="urn:microsoft.com/office/officeart/2005/8/layout/hierarchy4"/>
    <dgm:cxn modelId="{73FC56DE-1B39-4004-9C97-6A8B537BC97B}" srcId="{BDFD4CAB-7F35-4D74-8F1E-6031394F04B1}" destId="{75C119DD-D4E8-4EAB-87B6-D7ACB17DC52C}" srcOrd="0" destOrd="0" parTransId="{FB15F3A1-4BCD-4CB0-BD84-6BF33F7E50CC}" sibTransId="{58307303-17E0-4EEB-A5B8-65A2392E69E4}"/>
    <dgm:cxn modelId="{4C1E45EA-CDF5-4DA4-AF3E-EB1DF395D306}" type="presOf" srcId="{32303D13-0F03-48F5-8C76-8BD0FAAE86B3}" destId="{18B5AA2A-2848-4698-B202-BE835A409BE2}" srcOrd="0" destOrd="0" presId="urn:microsoft.com/office/officeart/2005/8/layout/hierarchy4"/>
    <dgm:cxn modelId="{8D5846FF-9ADC-4CA8-A03C-D2593FABBCE6}" type="presOf" srcId="{A25F30E4-B13C-44B2-BCB5-2A3414206A4E}" destId="{931F6CD7-0A0D-4D39-9326-F27137E50093}" srcOrd="0" destOrd="0" presId="urn:microsoft.com/office/officeart/2005/8/layout/hierarchy4"/>
    <dgm:cxn modelId="{A9580893-601B-4001-B4A1-F53D7654CBAE}" type="presParOf" srcId="{A711A80F-9616-4CEF-B06A-A04270930074}" destId="{EE73E446-4E56-4DC0-8D49-D1C33C7D0BA4}" srcOrd="0" destOrd="0" presId="urn:microsoft.com/office/officeart/2005/8/layout/hierarchy4"/>
    <dgm:cxn modelId="{8FD30B51-2A86-4D83-883E-26DCB640EB38}" type="presParOf" srcId="{EE73E446-4E56-4DC0-8D49-D1C33C7D0BA4}" destId="{11FCB6D9-E719-4940-9CE0-8F88900B39CD}" srcOrd="0" destOrd="0" presId="urn:microsoft.com/office/officeart/2005/8/layout/hierarchy4"/>
    <dgm:cxn modelId="{17572849-5CEB-48AE-9A67-E2AD57AC3823}" type="presParOf" srcId="{EE73E446-4E56-4DC0-8D49-D1C33C7D0BA4}" destId="{D78A1A2D-4E24-4BBE-9CDF-974498BE70EC}" srcOrd="1" destOrd="0" presId="urn:microsoft.com/office/officeart/2005/8/layout/hierarchy4"/>
    <dgm:cxn modelId="{08D771D4-FBBA-4D0B-9C23-0A7C56E5528F}" type="presParOf" srcId="{EE73E446-4E56-4DC0-8D49-D1C33C7D0BA4}" destId="{2EC4F8C6-6783-402F-9FEB-EF7F0325312D}" srcOrd="2" destOrd="0" presId="urn:microsoft.com/office/officeart/2005/8/layout/hierarchy4"/>
    <dgm:cxn modelId="{C971D2F2-4F49-4FE2-8339-62FDC6709139}" type="presParOf" srcId="{2EC4F8C6-6783-402F-9FEB-EF7F0325312D}" destId="{339BFCDA-F39F-4435-8F59-B73828F1EB64}" srcOrd="0" destOrd="0" presId="urn:microsoft.com/office/officeart/2005/8/layout/hierarchy4"/>
    <dgm:cxn modelId="{1ADDD393-D5BB-44DE-98B5-A922D40D3C1A}" type="presParOf" srcId="{339BFCDA-F39F-4435-8F59-B73828F1EB64}" destId="{FB743D6A-0850-49DE-AADF-AF77FF476C3D}" srcOrd="0" destOrd="0" presId="urn:microsoft.com/office/officeart/2005/8/layout/hierarchy4"/>
    <dgm:cxn modelId="{5377B1A3-ECB5-40B8-9F86-72AB9D1052CF}" type="presParOf" srcId="{339BFCDA-F39F-4435-8F59-B73828F1EB64}" destId="{05F4637F-58FC-4B54-85E9-5F20A12BB326}" srcOrd="1" destOrd="0" presId="urn:microsoft.com/office/officeart/2005/8/layout/hierarchy4"/>
    <dgm:cxn modelId="{BFABE5CC-D4AC-4A31-96C5-C6C8EF870D26}" type="presParOf" srcId="{2EC4F8C6-6783-402F-9FEB-EF7F0325312D}" destId="{5C870C20-35B7-4BD1-97FE-5D0C116F2983}" srcOrd="1" destOrd="0" presId="urn:microsoft.com/office/officeart/2005/8/layout/hierarchy4"/>
    <dgm:cxn modelId="{5ECC1BAA-9E15-47AB-9581-96D909475C67}" type="presParOf" srcId="{2EC4F8C6-6783-402F-9FEB-EF7F0325312D}" destId="{8D7B7C7E-8ECE-4E0C-AB38-83281482B87C}" srcOrd="2" destOrd="0" presId="urn:microsoft.com/office/officeart/2005/8/layout/hierarchy4"/>
    <dgm:cxn modelId="{53ECC5A1-9017-4C2C-AFFA-13A2A1F8CC35}" type="presParOf" srcId="{8D7B7C7E-8ECE-4E0C-AB38-83281482B87C}" destId="{10F48E5C-6F09-452A-AC05-8DB45C7C9E27}" srcOrd="0" destOrd="0" presId="urn:microsoft.com/office/officeart/2005/8/layout/hierarchy4"/>
    <dgm:cxn modelId="{FE1787A5-EB75-41E4-BBD6-A4F3D40A6401}" type="presParOf" srcId="{8D7B7C7E-8ECE-4E0C-AB38-83281482B87C}" destId="{FB4AF80F-2E61-4F18-BE92-CBE8D3FA8135}" srcOrd="1" destOrd="0" presId="urn:microsoft.com/office/officeart/2005/8/layout/hierarchy4"/>
    <dgm:cxn modelId="{C607A683-00A8-4248-890B-4F5D4CA6CF8B}" type="presParOf" srcId="{2EC4F8C6-6783-402F-9FEB-EF7F0325312D}" destId="{BDD9AB49-F83A-4065-8B13-6BB04F276D70}" srcOrd="3" destOrd="0" presId="urn:microsoft.com/office/officeart/2005/8/layout/hierarchy4"/>
    <dgm:cxn modelId="{B539EDC1-EED2-46E2-87CC-2AF91D34798E}" type="presParOf" srcId="{2EC4F8C6-6783-402F-9FEB-EF7F0325312D}" destId="{4F068317-F2E0-40CC-AF38-3994D490075F}" srcOrd="4" destOrd="0" presId="urn:microsoft.com/office/officeart/2005/8/layout/hierarchy4"/>
    <dgm:cxn modelId="{07256622-F956-42A0-85A5-BE56D81BA895}" type="presParOf" srcId="{4F068317-F2E0-40CC-AF38-3994D490075F}" destId="{C4C1E87D-9626-40A0-8926-90A563D7250F}" srcOrd="0" destOrd="0" presId="urn:microsoft.com/office/officeart/2005/8/layout/hierarchy4"/>
    <dgm:cxn modelId="{782F2C16-9A4F-4B56-A129-8BA271065F3E}" type="presParOf" srcId="{4F068317-F2E0-40CC-AF38-3994D490075F}" destId="{16DB737D-BE4B-4D16-B50E-83993532BDCC}" srcOrd="1" destOrd="0" presId="urn:microsoft.com/office/officeart/2005/8/layout/hierarchy4"/>
    <dgm:cxn modelId="{98633073-0988-4303-8440-C29AC3607302}" type="presParOf" srcId="{A711A80F-9616-4CEF-B06A-A04270930074}" destId="{2BB2552C-2AEA-4590-B27D-E9BC63D22740}" srcOrd="1" destOrd="0" presId="urn:microsoft.com/office/officeart/2005/8/layout/hierarchy4"/>
    <dgm:cxn modelId="{31719077-4933-4DF3-8400-81DCFB63200D}" type="presParOf" srcId="{A711A80F-9616-4CEF-B06A-A04270930074}" destId="{31FBD731-2135-4771-B3B3-5BA4B8A66B3A}" srcOrd="2" destOrd="0" presId="urn:microsoft.com/office/officeart/2005/8/layout/hierarchy4"/>
    <dgm:cxn modelId="{FBB2FCFC-3A9D-40A9-90A4-71DE85AE6C36}" type="presParOf" srcId="{31FBD731-2135-4771-B3B3-5BA4B8A66B3A}" destId="{69F3511A-F7D2-4739-90BA-3EEA8B0355DE}" srcOrd="0" destOrd="0" presId="urn:microsoft.com/office/officeart/2005/8/layout/hierarchy4"/>
    <dgm:cxn modelId="{9B717D40-FE67-48F3-89CF-2AD92C4896F7}" type="presParOf" srcId="{31FBD731-2135-4771-B3B3-5BA4B8A66B3A}" destId="{E3582A13-BFF3-49C1-A490-DE2F714F9A00}" srcOrd="1" destOrd="0" presId="urn:microsoft.com/office/officeart/2005/8/layout/hierarchy4"/>
    <dgm:cxn modelId="{9661A9AF-8333-4AD8-82C6-1DDA68C5E2D1}" type="presParOf" srcId="{31FBD731-2135-4771-B3B3-5BA4B8A66B3A}" destId="{CD42540E-86EA-4D72-8D06-2555020C11E9}" srcOrd="2" destOrd="0" presId="urn:microsoft.com/office/officeart/2005/8/layout/hierarchy4"/>
    <dgm:cxn modelId="{65BC0AFC-6EEF-4AC9-9F56-2BA822774410}" type="presParOf" srcId="{CD42540E-86EA-4D72-8D06-2555020C11E9}" destId="{BFA7F1D2-1CF8-4620-97AC-BF234FCD521A}" srcOrd="0" destOrd="0" presId="urn:microsoft.com/office/officeart/2005/8/layout/hierarchy4"/>
    <dgm:cxn modelId="{22881EE9-4F6F-42FB-A70D-CA96C0FD4655}" type="presParOf" srcId="{BFA7F1D2-1CF8-4620-97AC-BF234FCD521A}" destId="{08BB452B-C253-4F2B-BE62-D7D18CBD4ED9}" srcOrd="0" destOrd="0" presId="urn:microsoft.com/office/officeart/2005/8/layout/hierarchy4"/>
    <dgm:cxn modelId="{3D6DA85B-D561-4005-B9C6-284916CBE3F1}" type="presParOf" srcId="{BFA7F1D2-1CF8-4620-97AC-BF234FCD521A}" destId="{78995231-7438-4C80-B24B-63DA84AB15B1}" srcOrd="1" destOrd="0" presId="urn:microsoft.com/office/officeart/2005/8/layout/hierarchy4"/>
    <dgm:cxn modelId="{0666F154-BE92-460D-9870-C0C67C9F0FE5}" type="presParOf" srcId="{A711A80F-9616-4CEF-B06A-A04270930074}" destId="{3559199B-323D-45F6-AC5E-E990CBC63E21}" srcOrd="3" destOrd="0" presId="urn:microsoft.com/office/officeart/2005/8/layout/hierarchy4"/>
    <dgm:cxn modelId="{AE17D9AC-CD28-4617-93D9-904B59E064DC}" type="presParOf" srcId="{A711A80F-9616-4CEF-B06A-A04270930074}" destId="{D1506616-99B6-4BF6-B1BA-A84D3376E01B}" srcOrd="4" destOrd="0" presId="urn:microsoft.com/office/officeart/2005/8/layout/hierarchy4"/>
    <dgm:cxn modelId="{407B3090-C8BB-4CF4-8515-6C05942371EC}" type="presParOf" srcId="{D1506616-99B6-4BF6-B1BA-A84D3376E01B}" destId="{931F6CD7-0A0D-4D39-9326-F27137E50093}" srcOrd="0" destOrd="0" presId="urn:microsoft.com/office/officeart/2005/8/layout/hierarchy4"/>
    <dgm:cxn modelId="{420ED969-F1BD-41D9-8211-F9FE55807494}" type="presParOf" srcId="{D1506616-99B6-4BF6-B1BA-A84D3376E01B}" destId="{8A9ECB28-8C6F-41FB-9F0A-D6109EF97421}" srcOrd="1" destOrd="0" presId="urn:microsoft.com/office/officeart/2005/8/layout/hierarchy4"/>
    <dgm:cxn modelId="{E963D50F-835A-4D5C-9160-338AE9502902}" type="presParOf" srcId="{D1506616-99B6-4BF6-B1BA-A84D3376E01B}" destId="{A766448B-BE98-446D-A8E0-572F7D2EE073}" srcOrd="2" destOrd="0" presId="urn:microsoft.com/office/officeart/2005/8/layout/hierarchy4"/>
    <dgm:cxn modelId="{7536BCB1-7080-4410-A17F-229C154B6C97}" type="presParOf" srcId="{A766448B-BE98-446D-A8E0-572F7D2EE073}" destId="{46190ACC-94FB-4E5B-9C7F-5155642B1940}" srcOrd="0" destOrd="0" presId="urn:microsoft.com/office/officeart/2005/8/layout/hierarchy4"/>
    <dgm:cxn modelId="{3A6A56A6-A5A3-4AEE-A9FD-263D65CD8C79}" type="presParOf" srcId="{46190ACC-94FB-4E5B-9C7F-5155642B1940}" destId="{18B5AA2A-2848-4698-B202-BE835A409BE2}" srcOrd="0" destOrd="0" presId="urn:microsoft.com/office/officeart/2005/8/layout/hierarchy4"/>
    <dgm:cxn modelId="{36FC4316-7326-4465-9C1B-EA22C0713839}" type="presParOf" srcId="{46190ACC-94FB-4E5B-9C7F-5155642B1940}" destId="{E1C93E0B-D839-4B8A-955E-02F2A53FE250}" srcOrd="1" destOrd="0" presId="urn:microsoft.com/office/officeart/2005/8/layout/hierarchy4"/>
    <dgm:cxn modelId="{AA221FCB-A64D-4988-922D-30EC0892927C}" type="presParOf" srcId="{A766448B-BE98-446D-A8E0-572F7D2EE073}" destId="{5CD21DC2-8CFE-4011-B295-0CA6540FC00D}" srcOrd="1" destOrd="0" presId="urn:microsoft.com/office/officeart/2005/8/layout/hierarchy4"/>
    <dgm:cxn modelId="{F8D2C469-47A4-48D2-B09F-B1012D8E1053}" type="presParOf" srcId="{A766448B-BE98-446D-A8E0-572F7D2EE073}" destId="{FE9D4FB5-02FC-43FA-8B68-6DF4508124D3}" srcOrd="2" destOrd="0" presId="urn:microsoft.com/office/officeart/2005/8/layout/hierarchy4"/>
    <dgm:cxn modelId="{964DEA3B-9884-4C7B-9AFD-255C27CEE2F5}" type="presParOf" srcId="{FE9D4FB5-02FC-43FA-8B68-6DF4508124D3}" destId="{18444BD2-8CDD-406D-B758-CFC4E4FC17AA}" srcOrd="0" destOrd="0" presId="urn:microsoft.com/office/officeart/2005/8/layout/hierarchy4"/>
    <dgm:cxn modelId="{139F1AAD-E369-456E-8AC6-B0A61A4CF0E3}" type="presParOf" srcId="{FE9D4FB5-02FC-43FA-8B68-6DF4508124D3}" destId="{32552171-AE10-4B5F-BA91-88F4D9BD5691}" srcOrd="1" destOrd="0" presId="urn:microsoft.com/office/officeart/2005/8/layout/hierarchy4"/>
    <dgm:cxn modelId="{7E722C2A-EE82-4AC2-9AF4-B1D29F39C1FF}" type="presParOf" srcId="{A711A80F-9616-4CEF-B06A-A04270930074}" destId="{3F359494-9332-41F1-B42E-5465AE67DC68}" srcOrd="5" destOrd="0" presId="urn:microsoft.com/office/officeart/2005/8/layout/hierarchy4"/>
    <dgm:cxn modelId="{43C27A70-5278-488A-98D5-FD8FC1C04B59}" type="presParOf" srcId="{A711A80F-9616-4CEF-B06A-A04270930074}" destId="{0B87A814-780A-4543-8EF1-48BC1F04BE35}" srcOrd="6" destOrd="0" presId="urn:microsoft.com/office/officeart/2005/8/layout/hierarchy4"/>
    <dgm:cxn modelId="{0BD5456A-160F-468E-BE54-970A9990AA12}" type="presParOf" srcId="{0B87A814-780A-4543-8EF1-48BC1F04BE35}" destId="{2BABC19B-580E-4100-A5D2-F6E254B7590B}" srcOrd="0" destOrd="0" presId="urn:microsoft.com/office/officeart/2005/8/layout/hierarchy4"/>
    <dgm:cxn modelId="{87CDFD87-C3D7-4530-980E-41F1F5E9E037}" type="presParOf" srcId="{0B87A814-780A-4543-8EF1-48BC1F04BE35}" destId="{10739CA9-72AF-4BC5-9306-4C50F9974C88}" srcOrd="1" destOrd="0" presId="urn:microsoft.com/office/officeart/2005/8/layout/hierarchy4"/>
    <dgm:cxn modelId="{DD04DF76-42CD-4192-BC35-8438633F048C}" type="presParOf" srcId="{0B87A814-780A-4543-8EF1-48BC1F04BE35}" destId="{2CE7685D-0C40-4994-9CB7-56BC17151311}" srcOrd="2" destOrd="0" presId="urn:microsoft.com/office/officeart/2005/8/layout/hierarchy4"/>
    <dgm:cxn modelId="{2611EFFD-ECF7-4458-94B2-F27EBAD77FE4}" type="presParOf" srcId="{2CE7685D-0C40-4994-9CB7-56BC17151311}" destId="{D406FACB-CAB5-42A8-93E9-B0448D08AA27}" srcOrd="0" destOrd="0" presId="urn:microsoft.com/office/officeart/2005/8/layout/hierarchy4"/>
    <dgm:cxn modelId="{7A7D1618-B4B3-4365-AD86-3A0C53E5DD0A}" type="presParOf" srcId="{D406FACB-CAB5-42A8-93E9-B0448D08AA27}" destId="{A321E7AC-1622-42A0-BC65-625B5DA6664E}" srcOrd="0" destOrd="0" presId="urn:microsoft.com/office/officeart/2005/8/layout/hierarchy4"/>
    <dgm:cxn modelId="{3E87577A-E30F-46E3-A960-3881572A000B}" type="presParOf" srcId="{D406FACB-CAB5-42A8-93E9-B0448D08AA27}" destId="{E8F217B5-1E8E-41C8-ACDF-7DC9DAA7FB98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8F2096-C37C-487C-A6C5-DD917A4421DD}">
      <dsp:nvSpPr>
        <dsp:cNvPr id="0" name=""/>
        <dsp:cNvSpPr/>
      </dsp:nvSpPr>
      <dsp:spPr>
        <a:xfrm>
          <a:off x="1327" y="0"/>
          <a:ext cx="3451339" cy="3498850"/>
        </a:xfrm>
        <a:prstGeom prst="roundRect">
          <a:avLst>
            <a:gd name="adj" fmla="val 1000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 dirty="0"/>
            <a:t>Statistiske modeller</a:t>
          </a:r>
        </a:p>
      </dsp:txBody>
      <dsp:txXfrm>
        <a:off x="1327" y="0"/>
        <a:ext cx="3451339" cy="1049655"/>
      </dsp:txXfrm>
    </dsp:sp>
    <dsp:sp modelId="{B393D081-7DC6-4E37-B65E-BD5AEB9E0084}">
      <dsp:nvSpPr>
        <dsp:cNvPr id="0" name=""/>
        <dsp:cNvSpPr/>
      </dsp:nvSpPr>
      <dsp:spPr>
        <a:xfrm>
          <a:off x="346461" y="1049655"/>
          <a:ext cx="2761071" cy="2274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Mindste kvadraters metode</a:t>
          </a:r>
        </a:p>
      </dsp:txBody>
      <dsp:txXfrm>
        <a:off x="413072" y="1116266"/>
        <a:ext cx="2627849" cy="2141030"/>
      </dsp:txXfrm>
    </dsp:sp>
    <dsp:sp modelId="{41208AB7-1D31-4743-9933-1B1B4644967E}">
      <dsp:nvSpPr>
        <dsp:cNvPr id="0" name=""/>
        <dsp:cNvSpPr/>
      </dsp:nvSpPr>
      <dsp:spPr>
        <a:xfrm>
          <a:off x="3711517" y="0"/>
          <a:ext cx="3451339" cy="3498850"/>
        </a:xfrm>
        <a:prstGeom prst="roundRect">
          <a:avLst>
            <a:gd name="adj" fmla="val 1000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 dirty="0"/>
            <a:t>Maskinlæringsmodeller</a:t>
          </a:r>
        </a:p>
      </dsp:txBody>
      <dsp:txXfrm>
        <a:off x="3711517" y="0"/>
        <a:ext cx="3451339" cy="1049655"/>
      </dsp:txXfrm>
    </dsp:sp>
    <dsp:sp modelId="{82942B11-2E3B-47D8-B1DF-2E8FA2D67FB3}">
      <dsp:nvSpPr>
        <dsp:cNvPr id="0" name=""/>
        <dsp:cNvSpPr/>
      </dsp:nvSpPr>
      <dsp:spPr>
        <a:xfrm>
          <a:off x="4056651" y="1049953"/>
          <a:ext cx="2761071" cy="68738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 err="1"/>
            <a:t>Elastic</a:t>
          </a:r>
          <a:r>
            <a:rPr lang="da-DK" sz="2200" kern="1200" dirty="0"/>
            <a:t> Net</a:t>
          </a:r>
        </a:p>
      </dsp:txBody>
      <dsp:txXfrm>
        <a:off x="4076784" y="1070086"/>
        <a:ext cx="2720805" cy="647117"/>
      </dsp:txXfrm>
    </dsp:sp>
    <dsp:sp modelId="{696DEE72-14FC-4A70-B98F-2AF04FFFDFC1}">
      <dsp:nvSpPr>
        <dsp:cNvPr id="0" name=""/>
        <dsp:cNvSpPr/>
      </dsp:nvSpPr>
      <dsp:spPr>
        <a:xfrm>
          <a:off x="4056651" y="1843089"/>
          <a:ext cx="2761071" cy="68738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Træbaserede modeller</a:t>
          </a:r>
        </a:p>
      </dsp:txBody>
      <dsp:txXfrm>
        <a:off x="4076784" y="1863222"/>
        <a:ext cx="2720805" cy="647117"/>
      </dsp:txXfrm>
    </dsp:sp>
    <dsp:sp modelId="{28ED6202-EB62-42A3-9511-6129D33C3EDB}">
      <dsp:nvSpPr>
        <dsp:cNvPr id="0" name=""/>
        <dsp:cNvSpPr/>
      </dsp:nvSpPr>
      <dsp:spPr>
        <a:xfrm>
          <a:off x="4056651" y="2636224"/>
          <a:ext cx="2761071" cy="68738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Ensemble</a:t>
          </a:r>
        </a:p>
      </dsp:txBody>
      <dsp:txXfrm>
        <a:off x="4076784" y="2656357"/>
        <a:ext cx="2720805" cy="647117"/>
      </dsp:txXfrm>
    </dsp:sp>
    <dsp:sp modelId="{D4BFB511-B98E-4261-87F1-16CF72AD5479}">
      <dsp:nvSpPr>
        <dsp:cNvPr id="0" name=""/>
        <dsp:cNvSpPr/>
      </dsp:nvSpPr>
      <dsp:spPr>
        <a:xfrm>
          <a:off x="7421707" y="0"/>
          <a:ext cx="3451339" cy="3498850"/>
        </a:xfrm>
        <a:prstGeom prst="roundRect">
          <a:avLst>
            <a:gd name="adj" fmla="val 1000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 dirty="0"/>
            <a:t>Deep Learning</a:t>
          </a:r>
        </a:p>
      </dsp:txBody>
      <dsp:txXfrm>
        <a:off x="7421707" y="0"/>
        <a:ext cx="3451339" cy="1049655"/>
      </dsp:txXfrm>
    </dsp:sp>
    <dsp:sp modelId="{0EEA905C-A0AC-48EA-94D2-65CA241B1E81}">
      <dsp:nvSpPr>
        <dsp:cNvPr id="0" name=""/>
        <dsp:cNvSpPr/>
      </dsp:nvSpPr>
      <dsp:spPr>
        <a:xfrm>
          <a:off x="7766841" y="1050680"/>
          <a:ext cx="2761071" cy="10549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Neurale Netværk</a:t>
          </a:r>
        </a:p>
      </dsp:txBody>
      <dsp:txXfrm>
        <a:off x="7797739" y="1081578"/>
        <a:ext cx="2699275" cy="993155"/>
      </dsp:txXfrm>
    </dsp:sp>
    <dsp:sp modelId="{9F96E5F8-EDC8-499E-BFF9-D0B19105B5C3}">
      <dsp:nvSpPr>
        <dsp:cNvPr id="0" name=""/>
        <dsp:cNvSpPr/>
      </dsp:nvSpPr>
      <dsp:spPr>
        <a:xfrm>
          <a:off x="7766841" y="2267931"/>
          <a:ext cx="2761071" cy="10549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LSTM</a:t>
          </a:r>
        </a:p>
      </dsp:txBody>
      <dsp:txXfrm>
        <a:off x="7797739" y="2298829"/>
        <a:ext cx="2699275" cy="99315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FCB6D9-E719-4940-9CE0-8F88900B39CD}">
      <dsp:nvSpPr>
        <dsp:cNvPr id="0" name=""/>
        <dsp:cNvSpPr/>
      </dsp:nvSpPr>
      <dsp:spPr>
        <a:xfrm>
          <a:off x="469" y="237030"/>
          <a:ext cx="4838999" cy="3715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b="1" kern="1200" dirty="0">
              <a:latin typeface="+mn-lt"/>
              <a:ea typeface="Cambria Math" panose="02040503050406030204" pitchFamily="18" charset="0"/>
            </a:rPr>
            <a:t>Indtægter, udgifter, lønninger og materialeomkostninger</a:t>
          </a:r>
        </a:p>
      </dsp:txBody>
      <dsp:txXfrm>
        <a:off x="11351" y="247912"/>
        <a:ext cx="4817235" cy="349787"/>
      </dsp:txXfrm>
    </dsp:sp>
    <dsp:sp modelId="{FB743D6A-0850-49DE-AADF-AF77FF476C3D}">
      <dsp:nvSpPr>
        <dsp:cNvPr id="0" name=""/>
        <dsp:cNvSpPr/>
      </dsp:nvSpPr>
      <dsp:spPr>
        <a:xfrm>
          <a:off x="10039" y="696292"/>
          <a:ext cx="1528118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kern="1200" dirty="0">
              <a:latin typeface="Cambria Math" panose="02040503050406030204" pitchFamily="18" charset="0"/>
              <a:ea typeface="Cambria Math" panose="02040503050406030204" pitchFamily="18" charset="0"/>
            </a:rPr>
            <a:t>Der faktureres generelt ved hvert månedsluk, og derfor regnes datafrekvensen som månedlig.</a:t>
          </a:r>
        </a:p>
      </dsp:txBody>
      <dsp:txXfrm>
        <a:off x="54796" y="741049"/>
        <a:ext cx="1438604" cy="2707287"/>
      </dsp:txXfrm>
    </dsp:sp>
    <dsp:sp modelId="{10F48E5C-6F09-452A-AC05-8DB45C7C9E27}">
      <dsp:nvSpPr>
        <dsp:cNvPr id="0" name=""/>
        <dsp:cNvSpPr/>
      </dsp:nvSpPr>
      <dsp:spPr>
        <a:xfrm>
          <a:off x="1658280" y="696292"/>
          <a:ext cx="1528118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kern="1200" dirty="0">
              <a:latin typeface="Cambria Math" panose="02040503050406030204" pitchFamily="18" charset="0"/>
              <a:ea typeface="Cambria Math" panose="02040503050406030204" pitchFamily="18" charset="0"/>
            </a:rPr>
            <a:t>Budgetter i form af salgsskøn ved tilbudsfasen, produktionsomkostningsskøn under indkøbs-processen og et endeligt skøn i byggefasen.</a:t>
          </a:r>
        </a:p>
      </dsp:txBody>
      <dsp:txXfrm>
        <a:off x="1703037" y="741049"/>
        <a:ext cx="1438604" cy="2707287"/>
      </dsp:txXfrm>
    </dsp:sp>
    <dsp:sp modelId="{C4C1E87D-9626-40A0-8926-90A563D7250F}">
      <dsp:nvSpPr>
        <dsp:cNvPr id="0" name=""/>
        <dsp:cNvSpPr/>
      </dsp:nvSpPr>
      <dsp:spPr>
        <a:xfrm>
          <a:off x="3306522" y="696292"/>
          <a:ext cx="1528118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kern="1200" dirty="0">
              <a:latin typeface="Cambria Math" panose="02040503050406030204" pitchFamily="18" charset="0"/>
              <a:ea typeface="Cambria Math" panose="02040503050406030204" pitchFamily="18" charset="0"/>
            </a:rPr>
            <a:t>Under byggeprocessen beregnes forventede indtægter ved at justere påløbne omkostninger mod budget-margenen.</a:t>
          </a:r>
        </a:p>
      </dsp:txBody>
      <dsp:txXfrm>
        <a:off x="3351279" y="741049"/>
        <a:ext cx="1438604" cy="2707287"/>
      </dsp:txXfrm>
    </dsp:sp>
    <dsp:sp modelId="{69F3511A-F7D2-4739-90BA-3EEA8B0355DE}">
      <dsp:nvSpPr>
        <dsp:cNvPr id="0" name=""/>
        <dsp:cNvSpPr/>
      </dsp:nvSpPr>
      <dsp:spPr>
        <a:xfrm>
          <a:off x="5082320" y="228230"/>
          <a:ext cx="1529603" cy="3715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b="1" kern="1200" dirty="0">
              <a:latin typeface="+mn-lt"/>
              <a:ea typeface="Cambria Math" panose="02040503050406030204" pitchFamily="18" charset="0"/>
            </a:rPr>
            <a:t>Tidsregistreringer</a:t>
          </a:r>
        </a:p>
      </dsp:txBody>
      <dsp:txXfrm>
        <a:off x="5093202" y="239112"/>
        <a:ext cx="1507839" cy="349787"/>
      </dsp:txXfrm>
    </dsp:sp>
    <dsp:sp modelId="{08BB452B-C253-4F2B-BE62-D7D18CBD4ED9}">
      <dsp:nvSpPr>
        <dsp:cNvPr id="0" name=""/>
        <dsp:cNvSpPr/>
      </dsp:nvSpPr>
      <dsp:spPr>
        <a:xfrm>
          <a:off x="5083067" y="696292"/>
          <a:ext cx="1528109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kern="1200" dirty="0">
              <a:latin typeface="Cambria Math" panose="02040503050406030204" pitchFamily="18" charset="0"/>
              <a:ea typeface="Cambria Math" panose="02040503050406030204" pitchFamily="18" charset="0"/>
            </a:rPr>
            <a:t>Fakturerbare timer, sygefravær og interne timer bruges til at vurdere produktiviteten på afdelings-niveau. Fakturerbare timer kobles på projektniveau.</a:t>
          </a:r>
        </a:p>
      </dsp:txBody>
      <dsp:txXfrm>
        <a:off x="5127824" y="741049"/>
        <a:ext cx="1438595" cy="2707287"/>
      </dsp:txXfrm>
    </dsp:sp>
    <dsp:sp modelId="{931F6CD7-0A0D-4D39-9326-F27137E50093}">
      <dsp:nvSpPr>
        <dsp:cNvPr id="0" name=""/>
        <dsp:cNvSpPr/>
      </dsp:nvSpPr>
      <dsp:spPr>
        <a:xfrm>
          <a:off x="6852405" y="228230"/>
          <a:ext cx="3182668" cy="3715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b="1" kern="1200" dirty="0">
              <a:latin typeface="+mn-lt"/>
              <a:ea typeface="Cambria Math" panose="02040503050406030204" pitchFamily="18" charset="0"/>
            </a:rPr>
            <a:t>Prognoser</a:t>
          </a:r>
        </a:p>
      </dsp:txBody>
      <dsp:txXfrm>
        <a:off x="6863287" y="239112"/>
        <a:ext cx="3160904" cy="349787"/>
      </dsp:txXfrm>
    </dsp:sp>
    <dsp:sp modelId="{18B5AA2A-2848-4698-B202-BE835A409BE2}">
      <dsp:nvSpPr>
        <dsp:cNvPr id="0" name=""/>
        <dsp:cNvSpPr/>
      </dsp:nvSpPr>
      <dsp:spPr>
        <a:xfrm>
          <a:off x="6855571" y="696292"/>
          <a:ext cx="1528107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kern="1200" dirty="0">
              <a:latin typeface="Cambria Math" panose="02040503050406030204" pitchFamily="18" charset="0"/>
              <a:ea typeface="Cambria Math" panose="02040503050406030204" pitchFamily="18" charset="0"/>
            </a:rPr>
            <a:t>Start- og slutdato bruges til at modellere s-kurver, og sammenlignes med det faktiske fremskridt.</a:t>
          </a:r>
        </a:p>
      </dsp:txBody>
      <dsp:txXfrm>
        <a:off x="6900328" y="741049"/>
        <a:ext cx="1438593" cy="2707287"/>
      </dsp:txXfrm>
    </dsp:sp>
    <dsp:sp modelId="{18444BD2-8CDD-406D-B758-CFC4E4FC17AA}">
      <dsp:nvSpPr>
        <dsp:cNvPr id="0" name=""/>
        <dsp:cNvSpPr/>
      </dsp:nvSpPr>
      <dsp:spPr>
        <a:xfrm>
          <a:off x="8503802" y="696292"/>
          <a:ext cx="1528107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kern="1200" dirty="0">
              <a:latin typeface="Cambria Math" panose="02040503050406030204" pitchFamily="18" charset="0"/>
              <a:ea typeface="Cambria Math" panose="02040503050406030204" pitchFamily="18" charset="0"/>
            </a:rPr>
            <a:t>Risiko beregnes ved at normalisere afvigelser for fremskridtprognoser i forhold til produktions-omkostningsskøn.</a:t>
          </a:r>
        </a:p>
      </dsp:txBody>
      <dsp:txXfrm>
        <a:off x="8548559" y="741049"/>
        <a:ext cx="1438593" cy="2707287"/>
      </dsp:txXfrm>
    </dsp:sp>
    <dsp:sp modelId="{2BABC19B-580E-4100-A5D2-F6E254B7590B}">
      <dsp:nvSpPr>
        <dsp:cNvPr id="0" name=""/>
        <dsp:cNvSpPr/>
      </dsp:nvSpPr>
      <dsp:spPr>
        <a:xfrm>
          <a:off x="10275556" y="228230"/>
          <a:ext cx="1529603" cy="3715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400" b="1" kern="1200" dirty="0">
              <a:latin typeface="+mn-lt"/>
              <a:ea typeface="Cambria Math" panose="02040503050406030204" pitchFamily="18" charset="0"/>
            </a:rPr>
            <a:t>DST</a:t>
          </a:r>
        </a:p>
      </dsp:txBody>
      <dsp:txXfrm>
        <a:off x="10286438" y="239112"/>
        <a:ext cx="1507839" cy="349787"/>
      </dsp:txXfrm>
    </dsp:sp>
    <dsp:sp modelId="{A321E7AC-1622-42A0-BC65-625B5DA6664E}">
      <dsp:nvSpPr>
        <dsp:cNvPr id="0" name=""/>
        <dsp:cNvSpPr/>
      </dsp:nvSpPr>
      <dsp:spPr>
        <a:xfrm>
          <a:off x="10276303" y="696292"/>
          <a:ext cx="1528109" cy="279680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kern="1200" dirty="0">
              <a:latin typeface="Cambria Math" panose="02040503050406030204" pitchFamily="18" charset="0"/>
              <a:ea typeface="Cambria Math" panose="02040503050406030204" pitchFamily="18" charset="0"/>
            </a:rPr>
            <a:t>Makroøkonomiske indikatorer fra DST som tillidsindikatorer og sektor-specifikke begrænsninger. </a:t>
          </a:r>
        </a:p>
      </dsp:txBody>
      <dsp:txXfrm>
        <a:off x="10321060" y="741049"/>
        <a:ext cx="1438595" cy="27072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88722" y="183849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692837" y="183849"/>
            <a:ext cx="2922506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>
              <a:defRPr sz="1300"/>
            </a:lvl1pPr>
          </a:lstStyle>
          <a:p>
            <a:fld id="{03516883-48DD-4C9C-AED9-ACC4B9675FF5}" type="datetimeFigureOut">
              <a:rPr lang="da-DK" sz="800">
                <a:solidFill>
                  <a:schemeClr val="accent1"/>
                </a:solidFill>
              </a:rPr>
              <a:t>08-12-2023</a:t>
            </a:fld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88721" y="9836188"/>
            <a:ext cx="2922002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693340" y="9836188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300"/>
            </a:lvl1pPr>
          </a:lstStyle>
          <a:p>
            <a:fld id="{52A91FE0-BF21-4C80-A3FB-773B8C54F958}" type="slidenum">
              <a:rPr lang="da-DK" sz="1200">
                <a:solidFill>
                  <a:schemeClr val="accent1"/>
                </a:solidFill>
              </a:rPr>
              <a:t>‹nr.›</a:t>
            </a:fld>
            <a:endParaRPr lang="da-DK" sz="12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3920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53521" y="167633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28539" y="167633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 rtl="0">
              <a:defRPr sz="800">
                <a:solidFill>
                  <a:schemeClr val="accent1"/>
                </a:solidFill>
              </a:defRPr>
            </a:lvl1pPr>
          </a:lstStyle>
          <a:p>
            <a:fld id="{E0DF3390-761A-4FDC-BA3A-9CF676B82A14}" type="datetimeFigureOut">
              <a:rPr lang="da-DK" smtClean="0"/>
              <a:pPr/>
              <a:t>08-12-2023</a:t>
            </a:fld>
            <a:endParaRPr lang="da-DK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0" tIns="49535" rIns="99070" bIns="49535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3522" y="4925408"/>
            <a:ext cx="6197021" cy="402987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a-DK"/>
              <a:t>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53521" y="9846431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28539" y="9846431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CA4D1251-08EB-4C47-AB06-FBA54C2E1AEF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55898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904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975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6670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571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543698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348898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888281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684986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659452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561417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21472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730374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78297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0744392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DitUr Domicil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1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648641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490873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869160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10670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8195685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6089408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011594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505249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0112346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2473159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2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78223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26311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2385850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0481171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0928209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2586811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0992146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9130008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6604960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9045435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3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9016245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5361599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327768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0722674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7904945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1702263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5687922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2819105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6057447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9487983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4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916355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803125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617454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226340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566749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da-DK" smtClean="0"/>
              <a:pPr/>
              <a:t>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81029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halv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C8B7415-416B-7FE1-937C-81DC5F7AF7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744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C8B7415-416B-7FE1-937C-81DC5F7AF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939632FF-44ED-498C-B1FE-ACE44FE1E8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25592" y="0"/>
            <a:ext cx="7066408" cy="6858000"/>
          </a:xfrm>
          <a:custGeom>
            <a:avLst/>
            <a:gdLst>
              <a:gd name="connsiteX0" fmla="*/ 1965503 w 7066408"/>
              <a:gd name="connsiteY0" fmla="*/ 0 h 6858000"/>
              <a:gd name="connsiteX1" fmla="*/ 7066408 w 7066408"/>
              <a:gd name="connsiteY1" fmla="*/ 0 h 6858000"/>
              <a:gd name="connsiteX2" fmla="*/ 7066408 w 7066408"/>
              <a:gd name="connsiteY2" fmla="*/ 6858000 h 6858000"/>
              <a:gd name="connsiteX3" fmla="*/ 0 w 70664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66408" h="6858000">
                <a:moveTo>
                  <a:pt x="1965503" y="0"/>
                </a:moveTo>
                <a:lnTo>
                  <a:pt x="7066408" y="0"/>
                </a:lnTo>
                <a:lnTo>
                  <a:pt x="70664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4701857" cy="1661993"/>
          </a:xfrm>
        </p:spPr>
        <p:txBody>
          <a:bodyPr vert="horz">
            <a:noAutofit/>
          </a:bodyPr>
          <a:lstStyle>
            <a:lvl1pPr algn="l" rtl="0">
              <a:defRPr sz="6000"/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4142929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noProof="0"/>
              <a:t>Klik for at redigere undertiteltypografien i masteren</a:t>
            </a:r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297EFA8A-BAF3-4E00-ABAE-12A3938FAD52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3996F55-9A5F-4DA1-AD19-CFBFFDAF51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5080" y="5600283"/>
            <a:ext cx="3954771" cy="632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027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EE7813-74C2-F8E1-D412-BE30BC2B5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6367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EE7813-74C2-F8E1-D412-BE30BC2B5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C967A86E-1E38-460F-9723-9D24C8DEEF8B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289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 + farvet baggr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012E119-F5DD-6106-9214-36AB682F7F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4478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012E119-F5DD-6106-9214-36AB682F7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18590422-9BE5-4289-94F5-8531586DFCD8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635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55FE80-6286-289B-DD1E-C57D0B5F5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16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B55FE80-6286-289B-DD1E-C57D0B5F5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32" name="Pladsholder til tekst 31">
            <a:extLst>
              <a:ext uri="{FF2B5EF4-FFF2-40B4-BE49-F238E27FC236}">
                <a16:creationId xmlns:a16="http://schemas.microsoft.com/office/drawing/2014/main" id="{BA3D0DD0-91F8-4803-BD5E-DEFAF18680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7116237" cy="6858000"/>
          </a:xfrm>
          <a:custGeom>
            <a:avLst/>
            <a:gdLst>
              <a:gd name="connsiteX0" fmla="*/ 0 w 7116237"/>
              <a:gd name="connsiteY0" fmla="*/ 0 h 6858000"/>
              <a:gd name="connsiteX1" fmla="*/ 7116237 w 7116237"/>
              <a:gd name="connsiteY1" fmla="*/ 0 h 6858000"/>
              <a:gd name="connsiteX2" fmla="*/ 5150734 w 7116237"/>
              <a:gd name="connsiteY2" fmla="*/ 6858000 h 6858000"/>
              <a:gd name="connsiteX3" fmla="*/ 0 w 711623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6858000">
                <a:moveTo>
                  <a:pt x="0" y="0"/>
                </a:moveTo>
                <a:lnTo>
                  <a:pt x="7116237" y="0"/>
                </a:lnTo>
                <a:lnTo>
                  <a:pt x="515073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9BC18D5D-BEB9-4927-939D-CB0865E74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5425"/>
            <a:ext cx="5113337" cy="131048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C9E9BA6B-A909-4C0A-8466-CD595BEE7A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70CCB88D-D695-4EB7-926A-A112876360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82663" y="1808163"/>
            <a:ext cx="4168071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C96493EE-CEB4-4D66-95C2-0B294097E5C1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da-DK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da-DK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7771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g indhold i 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6E8AE74-7B17-EDE3-BB81-AD934018C7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3113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6E8AE74-7B17-EDE3-BB81-AD934018C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65668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931" userDrawn="1">
          <p15:clr>
            <a:srgbClr val="FBAE40"/>
          </p15:clr>
        </p15:guide>
        <p15:guide id="4" pos="415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87B03DB-BAEC-5561-E2F2-6CA14020B0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157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87B03DB-BAEC-5561-E2F2-6CA14020B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30172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 userDrawn="1">
          <p15:clr>
            <a:srgbClr val="FBAE40"/>
          </p15:clr>
        </p15:guide>
        <p15:guide id="2" pos="2978" userDrawn="1">
          <p15:clr>
            <a:srgbClr val="FBAE40"/>
          </p15:clr>
        </p15:guide>
        <p15:guide id="3" pos="5110" userDrawn="1">
          <p15:clr>
            <a:srgbClr val="FBAE40"/>
          </p15:clr>
        </p15:guide>
        <p15:guide id="4" pos="533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4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407E8C6-0376-2DE4-3C8E-914D1A021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1676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407E8C6-0376-2DE4-3C8E-914D1A021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99851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6A45B6CB-352F-4E32-AF69-C299C10A51C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91257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63015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 userDrawn="1">
          <p15:clr>
            <a:srgbClr val="FBAE40"/>
          </p15:clr>
        </p15:guide>
        <p15:guide id="2" pos="2387" userDrawn="1">
          <p15:clr>
            <a:srgbClr val="FBAE40"/>
          </p15:clr>
        </p15:guide>
        <p15:guide id="3" pos="5700" userDrawn="1">
          <p15:clr>
            <a:srgbClr val="FBAE40"/>
          </p15:clr>
        </p15:guide>
        <p15:guide id="4" pos="5926" userDrawn="1">
          <p15:clr>
            <a:srgbClr val="FBAE40"/>
          </p15:clr>
        </p15:guide>
        <p15:guide id="5" pos="3931" userDrawn="1">
          <p15:clr>
            <a:srgbClr val="FBAE40"/>
          </p15:clr>
        </p15:guide>
        <p15:guide id="6" pos="415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2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D0CD790-3C72-3174-9BB9-AAC04CCFE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3357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D0CD790-3C72-3174-9BB9-AAC04CCFE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CE05F4-9D00-4DC5-A363-94352566B1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9DDCD743-188F-4B86-8747-1E373705BA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9850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02834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74" userDrawn="1">
          <p15:clr>
            <a:srgbClr val="FBAE40"/>
          </p15:clr>
        </p15:guide>
        <p15:guide id="2" pos="401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3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94B3E18-6AF9-96A9-7EF6-3F8F268D7B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853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94B3E18-6AF9-96A9-7EF6-3F8F268D7B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52179531-8123-4684-8DC8-C0C8F5375C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86BB78F2-84F0-4A0A-9793-68171CF5E7E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27455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4377A560-23C0-491F-BDB7-C58123E772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72247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11884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>
          <p15:clr>
            <a:srgbClr val="FBAE40"/>
          </p15:clr>
        </p15:guide>
        <p15:guide id="2" pos="2978">
          <p15:clr>
            <a:srgbClr val="FBAE40"/>
          </p15:clr>
        </p15:guide>
        <p15:guide id="3" pos="5110">
          <p15:clr>
            <a:srgbClr val="FBAE40"/>
          </p15:clr>
        </p15:guide>
        <p15:guide id="4" pos="53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4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F67402E-0A98-654F-37FA-246E12DB1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2885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F67402E-0A98-654F-37FA-246E12DB1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F7E1B724-1863-4934-82EC-6D065E0A0F1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41975656-DFB7-4063-B691-5AD6F9E090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91256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22C5418F-AF34-42EC-8A58-7BF2F892BD6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AA708B7D-C86C-42CC-B31B-727B57E41D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C2B809B3-8F1B-4F1D-9FFA-7FBAD2E26A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91257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2E6382C7-BB6A-4A21-8265-F37ECCC6FF1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408445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826194ED-C5B4-4BF4-88B1-17C18E2D722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599851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1807E5E9-1B45-4641-B765-AAEC167C62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99851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27491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>
          <p15:clr>
            <a:srgbClr val="FBAE40"/>
          </p15:clr>
        </p15:guide>
        <p15:guide id="2" pos="2387">
          <p15:clr>
            <a:srgbClr val="FBAE40"/>
          </p15:clr>
        </p15:guide>
        <p15:guide id="3" pos="5700">
          <p15:clr>
            <a:srgbClr val="FBAE40"/>
          </p15:clr>
        </p15:guide>
        <p15:guide id="4" pos="5926">
          <p15:clr>
            <a:srgbClr val="FBAE40"/>
          </p15:clr>
        </p15:guide>
        <p15:guide id="5" pos="3931">
          <p15:clr>
            <a:srgbClr val="FBAE40"/>
          </p15:clr>
        </p15:guide>
        <p15:guide id="6" pos="415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F0513D3-A647-9A26-7977-459430610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209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F0513D3-A647-9A26-7977-459430610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36" name="Pladsholder til tekst 35">
            <a:extLst>
              <a:ext uri="{FF2B5EF4-FFF2-40B4-BE49-F238E27FC236}">
                <a16:creationId xmlns:a16="http://schemas.microsoft.com/office/drawing/2014/main" id="{E965B3AD-EE9F-4A21-8AAE-0CF487A6F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591" y="0"/>
            <a:ext cx="7116237" cy="5222096"/>
          </a:xfrm>
          <a:custGeom>
            <a:avLst/>
            <a:gdLst>
              <a:gd name="connsiteX0" fmla="*/ 0 w 7116237"/>
              <a:gd name="connsiteY0" fmla="*/ 0 h 5222096"/>
              <a:gd name="connsiteX1" fmla="*/ 7116237 w 7116237"/>
              <a:gd name="connsiteY1" fmla="*/ 0 h 5222096"/>
              <a:gd name="connsiteX2" fmla="*/ 5619584 w 7116237"/>
              <a:gd name="connsiteY2" fmla="*/ 5222096 h 5222096"/>
              <a:gd name="connsiteX3" fmla="*/ 0 w 7116237"/>
              <a:gd name="connsiteY3" fmla="*/ 5222096 h 5222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5222096">
                <a:moveTo>
                  <a:pt x="0" y="0"/>
                </a:moveTo>
                <a:lnTo>
                  <a:pt x="7116237" y="0"/>
                </a:lnTo>
                <a:lnTo>
                  <a:pt x="5619584" y="5222096"/>
                </a:lnTo>
                <a:lnTo>
                  <a:pt x="0" y="522209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8" name="Pladsholder til tekst 27">
            <a:extLst>
              <a:ext uri="{FF2B5EF4-FFF2-40B4-BE49-F238E27FC236}">
                <a16:creationId xmlns:a16="http://schemas.microsoft.com/office/drawing/2014/main" id="{B631F2FF-4D98-41D0-99C3-F0535BA34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4595177" cy="2641917"/>
          </a:xfrm>
        </p:spPr>
        <p:txBody>
          <a:bodyPr/>
          <a:lstStyle>
            <a:lvl1pPr marL="165100" indent="-165100" rtl="0">
              <a:buNone/>
              <a:defRPr sz="2800" b="1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”Indsæt citat her – husk citationstegn før og efter citatet”</a:t>
            </a:r>
            <a:endParaRPr lang="da-DK" dirty="0"/>
          </a:p>
        </p:txBody>
      </p:sp>
      <p:sp>
        <p:nvSpPr>
          <p:cNvPr id="29" name="Pladsholder til tekst 27">
            <a:extLst>
              <a:ext uri="{FF2B5EF4-FFF2-40B4-BE49-F238E27FC236}">
                <a16:creationId xmlns:a16="http://schemas.microsoft.com/office/drawing/2014/main" id="{7D86C3A8-CC69-48DD-A8AB-DA43FCA85F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4595177" cy="559117"/>
          </a:xfrm>
        </p:spPr>
        <p:txBody>
          <a:bodyPr anchor="b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Klik for at indsætte navn og titel</a:t>
            </a:r>
            <a:endParaRPr lang="da-DK" dirty="0"/>
          </a:p>
        </p:txBody>
      </p:sp>
      <p:sp>
        <p:nvSpPr>
          <p:cNvPr id="30" name="Pladsholder til tekst 27">
            <a:extLst>
              <a:ext uri="{FF2B5EF4-FFF2-40B4-BE49-F238E27FC236}">
                <a16:creationId xmlns:a16="http://schemas.microsoft.com/office/drawing/2014/main" id="{AF9B4576-96C2-4288-8D1B-684C7112FC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4595177" cy="559117"/>
          </a:xfrm>
        </p:spPr>
        <p:txBody>
          <a:bodyPr anchor="t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Klik for at indsætte virksomhed</a:t>
            </a:r>
            <a:endParaRPr lang="da-DK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3F8274B9-A14B-4EF8-8547-543E8342075F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da-DK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da-DK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FBAD2409-8FA6-44A8-980A-AC5EF1EDB9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21122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hvidt logo til mørk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26A0E6-6391-3B1A-8CE6-894498A6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5992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26A0E6-6391-3B1A-8CE6-894498A6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noProof="0"/>
              <a:t>Klik for at redigere undertiteltypografien i masteren</a:t>
            </a:r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8" name="Pladsholder til tekst 9">
            <a:extLst>
              <a:ext uri="{FF2B5EF4-FFF2-40B4-BE49-F238E27FC236}">
                <a16:creationId xmlns:a16="http://schemas.microsoft.com/office/drawing/2014/main" id="{16F701CD-4BAF-4794-A72E-193C61A403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22" name="TextBox 8">
            <a:extLst>
              <a:ext uri="{FF2B5EF4-FFF2-40B4-BE49-F238E27FC236}">
                <a16:creationId xmlns:a16="http://schemas.microsoft.com/office/drawing/2014/main" id="{7B05331B-4732-4B64-9AE5-022C6BC76C1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719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C12F142-4E09-486C-70DF-B4359EB7A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7001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C12F142-4E09-486C-70DF-B4359EB7A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27">
            <a:extLst>
              <a:ext uri="{FF2B5EF4-FFF2-40B4-BE49-F238E27FC236}">
                <a16:creationId xmlns:a16="http://schemas.microsoft.com/office/drawing/2014/main" id="{EC54937F-5C47-47DE-BBED-0C6D35450F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9177337" cy="2641917"/>
          </a:xfrm>
        </p:spPr>
        <p:txBody>
          <a:bodyPr/>
          <a:lstStyle>
            <a:lvl1pPr marL="246063" indent="-246063" rtl="0">
              <a:buNone/>
              <a:defRPr sz="48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”Indsæt citat her – husk citationstegn før og efter citatet”</a:t>
            </a:r>
            <a:endParaRPr lang="da-DK" dirty="0"/>
          </a:p>
        </p:txBody>
      </p:sp>
      <p:sp>
        <p:nvSpPr>
          <p:cNvPr id="11" name="Pladsholder til tekst 27">
            <a:extLst>
              <a:ext uri="{FF2B5EF4-FFF2-40B4-BE49-F238E27FC236}">
                <a16:creationId xmlns:a16="http://schemas.microsoft.com/office/drawing/2014/main" id="{4214CA9E-C795-4866-9FF0-38C28911BB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9177337" cy="559117"/>
          </a:xfrm>
        </p:spPr>
        <p:txBody>
          <a:bodyPr anchor="b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Klik for at indsætte navn og titel</a:t>
            </a:r>
            <a:endParaRPr lang="da-DK" dirty="0"/>
          </a:p>
        </p:txBody>
      </p:sp>
      <p:sp>
        <p:nvSpPr>
          <p:cNvPr id="12" name="Pladsholder til tekst 27">
            <a:extLst>
              <a:ext uri="{FF2B5EF4-FFF2-40B4-BE49-F238E27FC236}">
                <a16:creationId xmlns:a16="http://schemas.microsoft.com/office/drawing/2014/main" id="{C971CBE6-8195-46E1-AEA2-BD555ECCC0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9177337" cy="559117"/>
          </a:xfrm>
        </p:spPr>
        <p:txBody>
          <a:bodyPr anchor="t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a-DK"/>
              <a:t>Virksomhed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A5094E7-11C9-418B-BA06-9C3719BEDDD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Pladsholder til tekst 9">
            <a:extLst>
              <a:ext uri="{FF2B5EF4-FFF2-40B4-BE49-F238E27FC236}">
                <a16:creationId xmlns:a16="http://schemas.microsoft.com/office/drawing/2014/main" id="{7903A596-7BB0-412B-B416-763BFCF93D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13684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251417E-2501-E881-FC04-B6D712425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456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251417E-2501-E881-FC04-B6D712425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999664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79916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 er vi ren energi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2B34963-242D-90C7-1E7A-AB958EBC2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1219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2B34963-242D-90C7-1E7A-AB958EBC2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B1EB893E-E72C-4865-BCEB-316B4E1923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21040" y="5739281"/>
            <a:ext cx="2404504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Indsæt telefonnummer (+45 xxxx xxxx</a:t>
            </a:r>
            <a:endParaRPr lang="da-DK" dirty="0"/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0361AE4B-7609-4632-9401-0DC42BA537BD}"/>
              </a:ext>
            </a:extLst>
          </p:cNvPr>
          <p:cNvSpPr txBox="1"/>
          <p:nvPr userDrawn="1"/>
        </p:nvSpPr>
        <p:spPr>
          <a:xfrm>
            <a:off x="9652758" y="516681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da-DK" sz="1200" b="1">
                <a:solidFill>
                  <a:schemeClr val="bg1"/>
                </a:solidFill>
              </a:rPr>
              <a:t>NRGi</a:t>
            </a:r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37E301B3-E7D6-40A4-963F-25C6883E5A50}"/>
              </a:ext>
            </a:extLst>
          </p:cNvPr>
          <p:cNvSpPr txBox="1"/>
          <p:nvPr userDrawn="1"/>
        </p:nvSpPr>
        <p:spPr>
          <a:xfrm>
            <a:off x="9652758" y="5536148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da-DK" sz="1200">
                <a:solidFill>
                  <a:schemeClr val="bg1"/>
                </a:solidFill>
              </a:rPr>
              <a:t>DK-8200 Aarhus N</a:t>
            </a:r>
            <a:endParaRPr lang="da-DK" sz="1200" dirty="0">
              <a:solidFill>
                <a:schemeClr val="bg1"/>
              </a:solidFill>
            </a:endParaRP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E1A26097-CD01-4F99-BE32-FB4F5B7EEBCC}"/>
              </a:ext>
            </a:extLst>
          </p:cNvPr>
          <p:cNvSpPr txBox="1"/>
          <p:nvPr userDrawn="1"/>
        </p:nvSpPr>
        <p:spPr>
          <a:xfrm>
            <a:off x="9652758" y="609014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da-DK" sz="1200">
                <a:solidFill>
                  <a:schemeClr val="bg1"/>
                </a:solidFill>
              </a:rPr>
              <a:t>NRGi.dk</a:t>
            </a:r>
            <a:endParaRPr lang="da-DK" sz="1200" dirty="0">
              <a:solidFill>
                <a:schemeClr val="bg1"/>
              </a:solidFill>
            </a:endParaRP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5A838974-69ED-4C19-A90E-05DBD42D201D}"/>
              </a:ext>
            </a:extLst>
          </p:cNvPr>
          <p:cNvSpPr txBox="1"/>
          <p:nvPr userDrawn="1"/>
        </p:nvSpPr>
        <p:spPr>
          <a:xfrm>
            <a:off x="9652758" y="5351482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da-DK" sz="1200">
                <a:solidFill>
                  <a:schemeClr val="bg1"/>
                </a:solidFill>
              </a:rPr>
              <a:t>Dusager 22</a:t>
            </a:r>
            <a:endParaRPr lang="da-DK" sz="1200" dirty="0">
              <a:solidFill>
                <a:schemeClr val="bg1"/>
              </a:solidFill>
            </a:endParaRPr>
          </a:p>
        </p:txBody>
      </p:sp>
      <p:sp>
        <p:nvSpPr>
          <p:cNvPr id="22" name="Pladsholder til tekst 9">
            <a:extLst>
              <a:ext uri="{FF2B5EF4-FFF2-40B4-BE49-F238E27FC236}">
                <a16:creationId xmlns:a16="http://schemas.microsoft.com/office/drawing/2014/main" id="{A956F20C-AA17-48A2-83B5-1B535A9769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98121" y="5923947"/>
            <a:ext cx="1827423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Indsæt email (xxxx@nrgi.dk</a:t>
            </a:r>
            <a:r>
              <a:rPr lang="da-DK" sz="1200">
                <a:solidFill>
                  <a:schemeClr val="bg1"/>
                </a:solidFill>
              </a:rPr>
              <a:t>)</a:t>
            </a:r>
            <a:endParaRPr lang="da-DK" dirty="0"/>
          </a:p>
        </p:txBody>
      </p:sp>
      <p:sp>
        <p:nvSpPr>
          <p:cNvPr id="37" name="Pladsholder til slidenummer 36">
            <a:extLst>
              <a:ext uri="{FF2B5EF4-FFF2-40B4-BE49-F238E27FC236}">
                <a16:creationId xmlns:a16="http://schemas.microsoft.com/office/drawing/2014/main" id="{DBA9BEEB-9A9C-4E0D-B111-7218E5CD52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Pladsholder til tekst 9">
            <a:extLst>
              <a:ext uri="{FF2B5EF4-FFF2-40B4-BE49-F238E27FC236}">
                <a16:creationId xmlns:a16="http://schemas.microsoft.com/office/drawing/2014/main" id="{11958930-3179-4A2E-8155-875EC59FE5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7C095F8-A024-4A35-99AE-5042B63313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4963" y="2541949"/>
            <a:ext cx="11522075" cy="1112951"/>
          </a:xfrm>
        </p:spPr>
        <p:txBody>
          <a:bodyPr anchor="b"/>
          <a:lstStyle>
            <a:lvl1pPr marL="0" indent="0" algn="ctr" rtl="0">
              <a:buNone/>
              <a:defRPr sz="6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45193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grønt logo til lys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3B33204-4D07-26B3-C91D-431E834A32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1872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3B33204-4D07-26B3-C91D-431E834A32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noProof="0"/>
              <a:t>Klik for at redigere undertiteltypografien i masteren</a:t>
            </a:r>
            <a:endParaRPr lang="da-DK" noProof="0" dirty="0"/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D3B39772-6EF8-414F-B8CA-9572DA8DE679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Pladsholder til tekst 9">
            <a:extLst>
              <a:ext uri="{FF2B5EF4-FFF2-40B4-BE49-F238E27FC236}">
                <a16:creationId xmlns:a16="http://schemas.microsoft.com/office/drawing/2014/main" id="{64FB9D14-6354-4776-99DE-6F2AC7FCCC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039427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E13597B-E899-28DA-2685-B261BE4EC7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773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E13597B-E899-28DA-2685-B261BE4EC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3E26791D-912A-4A89-B575-16A619848A0E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da-DK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da-DK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Klik på billedikonet </a:t>
            </a:r>
            <a:br>
              <a:rPr lang="da-DK" sz="1000" b="0">
                <a:solidFill>
                  <a:schemeClr val="accent1"/>
                </a:solidFill>
              </a:rPr>
            </a:br>
            <a:r>
              <a:rPr lang="da-DK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da-DK" sz="1000" b="1">
                <a:solidFill>
                  <a:schemeClr val="accent1"/>
                </a:solidFill>
              </a:rPr>
              <a:t>Placer bagest </a:t>
            </a:r>
            <a:r>
              <a:rPr lang="da-DK" sz="1000" b="0">
                <a:solidFill>
                  <a:schemeClr val="accent1"/>
                </a:solidFill>
              </a:rPr>
              <a:t>(så tekst m.v. igen bliver synligt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Breaker – klik for at redigere titeltypografien i masteren</a:t>
            </a:r>
            <a:endParaRPr lang="da-DK" noProof="0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4E5F478B-2AF2-4DD2-BB59-3896063720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77408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a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314B-22AD-EFCE-EA25-5C90DBDE9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0954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314B-22AD-EFCE-EA25-5C90DBDE9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da-DK" noProof="0"/>
              <a:t>Breaker – klik for at redigere titeltypografien i masteren</a:t>
            </a:r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2" name="TextBox 8">
            <a:extLst>
              <a:ext uri="{FF2B5EF4-FFF2-40B4-BE49-F238E27FC236}">
                <a16:creationId xmlns:a16="http://schemas.microsoft.com/office/drawing/2014/main" id="{A3BB2A3B-E5DD-409B-948F-9E8E9C0DE4C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Vælg Formatér baggrund (længst til højre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pic>
        <p:nvPicPr>
          <p:cNvPr id="33" name="Billede 32">
            <a:extLst>
              <a:ext uri="{FF2B5EF4-FFF2-40B4-BE49-F238E27FC236}">
                <a16:creationId xmlns:a16="http://schemas.microsoft.com/office/drawing/2014/main" id="{199B2DD0-AF0F-450E-8BC2-669B53CE4D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4" name="TextBox 8">
            <a:extLst>
              <a:ext uri="{FF2B5EF4-FFF2-40B4-BE49-F238E27FC236}">
                <a16:creationId xmlns:a16="http://schemas.microsoft.com/office/drawing/2014/main" id="{D8329A9B-7465-4D18-8C10-A6F4DC3954EC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da-DK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pic>
        <p:nvPicPr>
          <p:cNvPr id="35" name="Billede 34">
            <a:extLst>
              <a:ext uri="{FF2B5EF4-FFF2-40B4-BE49-F238E27FC236}">
                <a16:creationId xmlns:a16="http://schemas.microsoft.com/office/drawing/2014/main" id="{6D1350DD-259B-45C3-B163-F3CA3EC736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BD7F83F9-AECA-46E1-AEE8-CF54361FD73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7D216729-A8D1-4335-BE16-89F4384AC4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03479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39A8324-4EAB-D001-BF91-8F238CF85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8377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39A8324-4EAB-D001-BF91-8F238CF852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2C1918C-9363-4876-BE81-A1CD339A2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1F8DDE5-E09E-4851-80C7-9117A55BB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529B0911-F7F1-4774-A696-6B9D2735D4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6" name="Pladsholder til tekst 11">
            <a:extLst>
              <a:ext uri="{FF2B5EF4-FFF2-40B4-BE49-F238E27FC236}">
                <a16:creationId xmlns:a16="http://schemas.microsoft.com/office/drawing/2014/main" id="{EAB1C4A3-F47C-4231-AAC2-76E60133E4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65865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93B756E9-F541-497F-92B6-1332822426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11214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  <p:sp>
        <p:nvSpPr>
          <p:cNvPr id="20" name="Pladsholder til tekst 18">
            <a:extLst>
              <a:ext uri="{FF2B5EF4-FFF2-40B4-BE49-F238E27FC236}">
                <a16:creationId xmlns:a16="http://schemas.microsoft.com/office/drawing/2014/main" id="{526EFD36-E395-47FA-A4C9-907A4C9484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4415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01344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8E3A7EA-62A4-417F-AC41-59F565D68C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71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8E3A7EA-62A4-417F-AC41-59F565D68C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13561"/>
            <a:ext cx="7958137" cy="4352290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CDB01046-B639-4C51-B121-93BF127467C5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da-DK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da-DK" sz="1000" b="0">
                <a:solidFill>
                  <a:schemeClr val="accent1"/>
                </a:solidFill>
              </a:rPr>
              <a:t>Vælg Formatér baggrund (længst til højre)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6FC607F-A981-4CD2-B468-1AD8A292343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8">
            <a:extLst>
              <a:ext uri="{FF2B5EF4-FFF2-40B4-BE49-F238E27FC236}">
                <a16:creationId xmlns:a16="http://schemas.microsoft.com/office/drawing/2014/main" id="{0941A88B-2C47-4D26-B718-CF388930B536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da-DK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da-DK" sz="1000" b="0" dirty="0">
              <a:solidFill>
                <a:schemeClr val="accent1"/>
              </a:solidFill>
            </a:endParaRP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7CEBFC1D-C250-413D-8E83-9AA4AD28DB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9AA83616-686F-4BA2-9DEF-C78B9BF29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7" name="Pladsholder til slidenummer 16">
            <a:extLst>
              <a:ext uri="{FF2B5EF4-FFF2-40B4-BE49-F238E27FC236}">
                <a16:creationId xmlns:a16="http://schemas.microsoft.com/office/drawing/2014/main" id="{0496EE00-B7B1-4FBC-AE5D-1ED4C224E89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5C039EB7-1A5B-4652-B373-381F14A78A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8899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B7D2480-7036-710B-1778-3F9B8F5441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768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B7D2480-7036-710B-1778-3F9B8F544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7958137" cy="43576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CD368082-6B4C-4E17-B467-EDE690A063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76694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lille marg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44E94A3-94F7-4876-BD09-C61C8FBD6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5210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44E94A3-94F7-4876-BD09-C61C8FBD6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DABB80B-B68E-403D-8533-538037F78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9827"/>
            <a:ext cx="10874375" cy="633379"/>
          </a:xfrm>
        </p:spPr>
        <p:txBody>
          <a:bodyPr vert="horz" anchor="t">
            <a:noAutofit/>
          </a:bodyPr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79AA1BE-5B22-4EEB-81F8-ABE92B61A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AE3E6A7E-4961-403F-A8EA-EB08707ECA2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10874375" cy="507722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50753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DE25FA5-E514-CFB8-9A3C-3E423FEA6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303792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7" imgH="348" progId="TCLayout.ActiveDocument.1">
                  <p:embed/>
                </p:oleObj>
              </mc:Choice>
              <mc:Fallback>
                <p:oleObj name="think-cell Slide" r:id="rId26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DE25FA5-E514-CFB8-9A3C-3E423FEA6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a-DK" noProof="0"/>
              <a:t>Klik for at redigere titeltypografien i masteren</a:t>
            </a:r>
            <a:endParaRPr lang="da-DK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1813561"/>
            <a:ext cx="10874375" cy="43522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57940" y="6443507"/>
            <a:ext cx="399097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41CBECE6-4121-4040-93C2-1D43AFE5C05D}"/>
              </a:ext>
            </a:extLst>
          </p:cNvPr>
          <p:cNvSpPr txBox="1">
            <a:spLocks/>
          </p:cNvSpPr>
          <p:nvPr userDrawn="1"/>
        </p:nvSpPr>
        <p:spPr>
          <a:xfrm>
            <a:off x="-1905" y="6308725"/>
            <a:ext cx="1965316" cy="314508"/>
          </a:xfrm>
          <a:prstGeom prst="rect">
            <a:avLst/>
          </a:prstGeom>
          <a:blipFill dpi="0"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da-DK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8341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3" r:id="rId2"/>
    <p:sldLayoutId id="2147483673" r:id="rId3"/>
    <p:sldLayoutId id="2147483675" r:id="rId4"/>
    <p:sldLayoutId id="2147483676" r:id="rId5"/>
    <p:sldLayoutId id="2147483691" r:id="rId6"/>
    <p:sldLayoutId id="2147483677" r:id="rId7"/>
    <p:sldLayoutId id="2147483650" r:id="rId8"/>
    <p:sldLayoutId id="2147483692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61" r:id="rId16"/>
    <p:sldLayoutId id="2147483687" r:id="rId17"/>
    <p:sldLayoutId id="2147483688" r:id="rId18"/>
    <p:sldLayoutId id="2147483678" r:id="rId19"/>
    <p:sldLayoutId id="2147483679" r:id="rId20"/>
    <p:sldLayoutId id="2147483654" r:id="rId21"/>
    <p:sldLayoutId id="2147483655" r:id="rId22"/>
    <p:sldLayoutId id="2147483680" r:id="rId23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 spc="1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6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0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69" userDrawn="1">
          <p15:clr>
            <a:srgbClr val="F26B43"/>
          </p15:clr>
        </p15:guide>
        <p15:guide id="2" orient="horz" pos="970" userDrawn="1">
          <p15:clr>
            <a:srgbClr val="F26B43"/>
          </p15:clr>
        </p15:guide>
        <p15:guide id="3" orient="horz" pos="3884" userDrawn="1">
          <p15:clr>
            <a:srgbClr val="F26B43"/>
          </p15:clr>
        </p15:guide>
        <p15:guide id="5" orient="horz" pos="142" userDrawn="1">
          <p15:clr>
            <a:srgbClr val="F26B43"/>
          </p15:clr>
        </p15:guide>
        <p15:guide id="6" pos="619" userDrawn="1">
          <p15:clr>
            <a:srgbClr val="F26B43"/>
          </p15:clr>
        </p15:guide>
        <p15:guide id="7" orient="horz" pos="1139" userDrawn="1">
          <p15:clr>
            <a:srgbClr val="F26B43"/>
          </p15:clr>
        </p15:guide>
        <p15:guide id="8" pos="70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10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4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33.bin"/><Relationship Id="rId9" Type="http://schemas.openxmlformats.org/officeDocument/2006/relationships/diagramColors" Target="../diagrams/colors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oleObject" Target="../embeddings/oleObject34.bin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2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3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18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4.x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41.bin"/><Relationship Id="rId9" Type="http://schemas.openxmlformats.org/officeDocument/2006/relationships/diagramColors" Target="../diagrams/colors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oleObject" Target="../embeddings/oleObject42.bin"/><Relationship Id="rId11" Type="http://schemas.openxmlformats.org/officeDocument/2006/relationships/image" Target="../media/image23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6.x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8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1_8_dst_data.svg" TargetMode="External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25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9.x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3_0_2_corr.svg" TargetMode="External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27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0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3_4_2_corr_incl_lag_budget.svg" TargetMode="External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1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analysis_scatter.svg" TargetMode="External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31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2.x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3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.bin"/><Relationship Id="rId13" Type="http://schemas.openxmlformats.org/officeDocument/2006/relationships/image" Target="../media/image34.png"/><Relationship Id="rId3" Type="http://schemas.openxmlformats.org/officeDocument/2006/relationships/tags" Target="../tags/tag57.xml"/><Relationship Id="rId7" Type="http://schemas.openxmlformats.org/officeDocument/2006/relationships/notesSlide" Target="../notesSlides/notesSlide26.xml"/><Relationship Id="rId12" Type="http://schemas.openxmlformats.org/officeDocument/2006/relationships/image" Target="file:///C:\Users\tobr\OneDrive%20-%20NRGi%20A%20S\Projekter\ProjectBasedInternship\Data\Results\Presentation\3_0_dst.svg" TargetMode="Externa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33.svg"/><Relationship Id="rId5" Type="http://schemas.openxmlformats.org/officeDocument/2006/relationships/tags" Target="../tags/tag59.xml"/><Relationship Id="rId10" Type="http://schemas.openxmlformats.org/officeDocument/2006/relationships/image" Target="../media/image32.png"/><Relationship Id="rId4" Type="http://schemas.openxmlformats.org/officeDocument/2006/relationships/tags" Target="../tags/tag58.xml"/><Relationship Id="rId9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.bin"/><Relationship Id="rId13" Type="http://schemas.openxmlformats.org/officeDocument/2006/relationships/image" Target="../media/image34.png"/><Relationship Id="rId3" Type="http://schemas.openxmlformats.org/officeDocument/2006/relationships/tags" Target="../tags/tag62.xml"/><Relationship Id="rId7" Type="http://schemas.openxmlformats.org/officeDocument/2006/relationships/notesSlide" Target="../notesSlides/notesSlide27.xml"/><Relationship Id="rId12" Type="http://schemas.openxmlformats.org/officeDocument/2006/relationships/image" Target="file:///C:\Users\tobr\OneDrive%20-%20NRGi%20A%20S\Projekter\ProjectBasedInternship\Data\Results\Presentation\3_9_scurve.svg" TargetMode="Externa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36.svg"/><Relationship Id="rId5" Type="http://schemas.openxmlformats.org/officeDocument/2006/relationships/tags" Target="../tags/tag64.xml"/><Relationship Id="rId10" Type="http://schemas.openxmlformats.org/officeDocument/2006/relationships/image" Target="../media/image35.png"/><Relationship Id="rId4" Type="http://schemas.openxmlformats.org/officeDocument/2006/relationships/tags" Target="../tags/tag63.xml"/><Relationship Id="rId9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13" Type="http://schemas.openxmlformats.org/officeDocument/2006/relationships/image" Target="../media/image34.png"/><Relationship Id="rId3" Type="http://schemas.openxmlformats.org/officeDocument/2006/relationships/tags" Target="../tags/tag67.xml"/><Relationship Id="rId7" Type="http://schemas.openxmlformats.org/officeDocument/2006/relationships/notesSlide" Target="../notesSlides/notesSlide28.xml"/><Relationship Id="rId12" Type="http://schemas.openxmlformats.org/officeDocument/2006/relationships/image" Target="file:///C:\Users\tobr\OneDrive%20-%20NRGi%20A%20S\Projekter\ProjectBasedInternship\Data\Results\Presentation\3_2_ols_lag.svg" TargetMode="Externa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38.svg"/><Relationship Id="rId5" Type="http://schemas.openxmlformats.org/officeDocument/2006/relationships/tags" Target="../tags/tag69.xml"/><Relationship Id="rId10" Type="http://schemas.openxmlformats.org/officeDocument/2006/relationships/image" Target="../media/image37.png"/><Relationship Id="rId4" Type="http://schemas.openxmlformats.org/officeDocument/2006/relationships/tags" Target="../tags/tag68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7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3.bin"/><Relationship Id="rId13" Type="http://schemas.openxmlformats.org/officeDocument/2006/relationships/image" Target="../media/image34.png"/><Relationship Id="rId3" Type="http://schemas.openxmlformats.org/officeDocument/2006/relationships/tags" Target="../tags/tag72.xml"/><Relationship Id="rId7" Type="http://schemas.openxmlformats.org/officeDocument/2006/relationships/notesSlide" Target="../notesSlides/notesSlide29.xml"/><Relationship Id="rId12" Type="http://schemas.openxmlformats.org/officeDocument/2006/relationships/image" Target="file:///C:\Users\tobr\OneDrive%20-%20NRGi%20A%20S\Projekter\ProjectBasedInternship\Data\Results\Presentation\3_3_ols_lag_budget.svg" TargetMode="Externa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40.svg"/><Relationship Id="rId5" Type="http://schemas.openxmlformats.org/officeDocument/2006/relationships/tags" Target="../tags/tag74.xml"/><Relationship Id="rId10" Type="http://schemas.openxmlformats.org/officeDocument/2006/relationships/image" Target="../media/image39.png"/><Relationship Id="rId4" Type="http://schemas.openxmlformats.org/officeDocument/2006/relationships/tags" Target="../tags/tag73.xml"/><Relationship Id="rId9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4.bin"/><Relationship Id="rId13" Type="http://schemas.openxmlformats.org/officeDocument/2006/relationships/image" Target="../media/image34.png"/><Relationship Id="rId3" Type="http://schemas.openxmlformats.org/officeDocument/2006/relationships/tags" Target="../tags/tag77.xml"/><Relationship Id="rId7" Type="http://schemas.openxmlformats.org/officeDocument/2006/relationships/notesSlide" Target="../notesSlides/notesSlide30.xml"/><Relationship Id="rId12" Type="http://schemas.openxmlformats.org/officeDocument/2006/relationships/image" Target="file:///C:\Users\tobr\OneDrive%20-%20NRGi%20A%20S\Projekter\ProjectBasedInternship\Data\Results\Presentation\3_5_fc.svg" TargetMode="Externa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42.svg"/><Relationship Id="rId5" Type="http://schemas.openxmlformats.org/officeDocument/2006/relationships/tags" Target="../tags/tag79.xml"/><Relationship Id="rId10" Type="http://schemas.openxmlformats.org/officeDocument/2006/relationships/image" Target="../media/image41.png"/><Relationship Id="rId4" Type="http://schemas.openxmlformats.org/officeDocument/2006/relationships/tags" Target="../tags/tag78.xml"/><Relationship Id="rId9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5.bin"/><Relationship Id="rId13" Type="http://schemas.openxmlformats.org/officeDocument/2006/relationships/image" Target="../media/image34.png"/><Relationship Id="rId3" Type="http://schemas.openxmlformats.org/officeDocument/2006/relationships/tags" Target="../tags/tag82.xml"/><Relationship Id="rId7" Type="http://schemas.openxmlformats.org/officeDocument/2006/relationships/notesSlide" Target="../notesSlides/notesSlide31.xml"/><Relationship Id="rId12" Type="http://schemas.openxmlformats.org/officeDocument/2006/relationships/image" Target="file:///C:\Users\tobr\OneDrive%20-%20NRGi%20A%20S\Projekter\ProjectBasedInternship\Data\Results\Presentation\3_6_cluster.svg" TargetMode="Externa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44.svg"/><Relationship Id="rId5" Type="http://schemas.openxmlformats.org/officeDocument/2006/relationships/tags" Target="../tags/tag84.xml"/><Relationship Id="rId10" Type="http://schemas.openxmlformats.org/officeDocument/2006/relationships/image" Target="../media/image43.png"/><Relationship Id="rId4" Type="http://schemas.openxmlformats.org/officeDocument/2006/relationships/tags" Target="../tags/tag83.xml"/><Relationship Id="rId9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.bin"/><Relationship Id="rId13" Type="http://schemas.openxmlformats.org/officeDocument/2006/relationships/image" Target="../media/image34.png"/><Relationship Id="rId3" Type="http://schemas.openxmlformats.org/officeDocument/2006/relationships/tags" Target="../tags/tag87.xml"/><Relationship Id="rId7" Type="http://schemas.openxmlformats.org/officeDocument/2006/relationships/notesSlide" Target="../notesSlides/notesSlide32.xml"/><Relationship Id="rId12" Type="http://schemas.openxmlformats.org/officeDocument/2006/relationships/image" Target="file:///C:\Users\tobr\OneDrive%20-%20NRGi%20A%20S\Projekter\ProjectBasedInternship\Data\Results\Presentation\3_7_fc_cluster.svg" TargetMode="Externa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46.svg"/><Relationship Id="rId5" Type="http://schemas.openxmlformats.org/officeDocument/2006/relationships/tags" Target="../tags/tag89.xml"/><Relationship Id="rId10" Type="http://schemas.openxmlformats.org/officeDocument/2006/relationships/image" Target="../media/image45.png"/><Relationship Id="rId4" Type="http://schemas.openxmlformats.org/officeDocument/2006/relationships/tags" Target="../tags/tag88.xml"/><Relationship Id="rId9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7.bin"/><Relationship Id="rId3" Type="http://schemas.openxmlformats.org/officeDocument/2006/relationships/tags" Target="../tags/tag92.xml"/><Relationship Id="rId7" Type="http://schemas.openxmlformats.org/officeDocument/2006/relationships/notesSlide" Target="../notesSlides/notesSlide33.xml"/><Relationship Id="rId12" Type="http://schemas.openxmlformats.org/officeDocument/2006/relationships/image" Target="../media/image34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48.svg"/><Relationship Id="rId5" Type="http://schemas.openxmlformats.org/officeDocument/2006/relationships/tags" Target="../tags/tag94.xml"/><Relationship Id="rId10" Type="http://schemas.openxmlformats.org/officeDocument/2006/relationships/image" Target="../media/image47.png"/><Relationship Id="rId4" Type="http://schemas.openxmlformats.org/officeDocument/2006/relationships/tags" Target="../tags/tag93.xml"/><Relationship Id="rId9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5.xml"/><Relationship Id="rId4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9.bin"/><Relationship Id="rId13" Type="http://schemas.openxmlformats.org/officeDocument/2006/relationships/image" Target="../media/image34.png"/><Relationship Id="rId3" Type="http://schemas.openxmlformats.org/officeDocument/2006/relationships/tags" Target="../tags/tag98.xml"/><Relationship Id="rId7" Type="http://schemas.openxmlformats.org/officeDocument/2006/relationships/notesSlide" Target="../notesSlides/notesSlide34.xml"/><Relationship Id="rId12" Type="http://schemas.openxmlformats.org/officeDocument/2006/relationships/image" Target="file:///C:\Users\tobr\OneDrive%20-%20NRGi%20A%20S\Projekter\ProjectBasedInternship\Data\Results\Presentation\4_0_en.svg" TargetMode="Externa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50.svg"/><Relationship Id="rId5" Type="http://schemas.openxmlformats.org/officeDocument/2006/relationships/tags" Target="../tags/tag100.xml"/><Relationship Id="rId10" Type="http://schemas.openxmlformats.org/officeDocument/2006/relationships/image" Target="../media/image49.png"/><Relationship Id="rId4" Type="http://schemas.openxmlformats.org/officeDocument/2006/relationships/tags" Target="../tags/tag99.xml"/><Relationship Id="rId9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0.bin"/><Relationship Id="rId13" Type="http://schemas.openxmlformats.org/officeDocument/2006/relationships/image" Target="../media/image34.png"/><Relationship Id="rId3" Type="http://schemas.openxmlformats.org/officeDocument/2006/relationships/tags" Target="../tags/tag103.xml"/><Relationship Id="rId7" Type="http://schemas.openxmlformats.org/officeDocument/2006/relationships/notesSlide" Target="../notesSlides/notesSlide35.xml"/><Relationship Id="rId12" Type="http://schemas.openxmlformats.org/officeDocument/2006/relationships/image" Target="file:///C:\Users\tobr\OneDrive%20-%20NRGi%20A%20S\Projekter\ProjectBasedInternship\Data\Results\Presentation\4_1_rf_full.svg" TargetMode="Externa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52.svg"/><Relationship Id="rId5" Type="http://schemas.openxmlformats.org/officeDocument/2006/relationships/tags" Target="../tags/tag105.xml"/><Relationship Id="rId10" Type="http://schemas.openxmlformats.org/officeDocument/2006/relationships/image" Target="../media/image51.png"/><Relationship Id="rId4" Type="http://schemas.openxmlformats.org/officeDocument/2006/relationships/tags" Target="../tags/tag104.xml"/><Relationship Id="rId9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1.bin"/><Relationship Id="rId13" Type="http://schemas.openxmlformats.org/officeDocument/2006/relationships/image" Target="../media/image34.png"/><Relationship Id="rId3" Type="http://schemas.openxmlformats.org/officeDocument/2006/relationships/tags" Target="../tags/tag108.xml"/><Relationship Id="rId7" Type="http://schemas.openxmlformats.org/officeDocument/2006/relationships/notesSlide" Target="../notesSlides/notesSlide36.xml"/><Relationship Id="rId12" Type="http://schemas.openxmlformats.org/officeDocument/2006/relationships/image" Target="file:///C:\Users\tobr\OneDrive%20-%20NRGi%20A%20S\Projekter\ProjectBasedInternship\Data\Results\Presentation\4_2_rf_sparse.svg" TargetMode="Externa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54.svg"/><Relationship Id="rId5" Type="http://schemas.openxmlformats.org/officeDocument/2006/relationships/tags" Target="../tags/tag110.xml"/><Relationship Id="rId10" Type="http://schemas.openxmlformats.org/officeDocument/2006/relationships/image" Target="../media/image53.png"/><Relationship Id="rId4" Type="http://schemas.openxmlformats.org/officeDocument/2006/relationships/tags" Target="../tags/tag109.xml"/><Relationship Id="rId9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2.bin"/><Relationship Id="rId13" Type="http://schemas.openxmlformats.org/officeDocument/2006/relationships/image" Target="../media/image34.png"/><Relationship Id="rId3" Type="http://schemas.openxmlformats.org/officeDocument/2006/relationships/tags" Target="../tags/tag113.xml"/><Relationship Id="rId7" Type="http://schemas.openxmlformats.org/officeDocument/2006/relationships/notesSlide" Target="../notesSlides/notesSlide37.xml"/><Relationship Id="rId12" Type="http://schemas.openxmlformats.org/officeDocument/2006/relationships/image" Target="file:///C:\Users\tobr\OneDrive%20-%20NRGi%20A%20S\Projekter\ProjectBasedInternship\Data\Results\Presentation\4_3_et.svg" TargetMode="Externa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56.svg"/><Relationship Id="rId5" Type="http://schemas.openxmlformats.org/officeDocument/2006/relationships/tags" Target="../tags/tag115.xml"/><Relationship Id="rId10" Type="http://schemas.openxmlformats.org/officeDocument/2006/relationships/image" Target="../media/image55.png"/><Relationship Id="rId4" Type="http://schemas.openxmlformats.org/officeDocument/2006/relationships/tags" Target="../tags/tag114.xml"/><Relationship Id="rId9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3.bin"/><Relationship Id="rId13" Type="http://schemas.openxmlformats.org/officeDocument/2006/relationships/image" Target="../media/image34.png"/><Relationship Id="rId3" Type="http://schemas.openxmlformats.org/officeDocument/2006/relationships/tags" Target="../tags/tag118.xml"/><Relationship Id="rId7" Type="http://schemas.openxmlformats.org/officeDocument/2006/relationships/notesSlide" Target="../notesSlides/notesSlide38.xml"/><Relationship Id="rId12" Type="http://schemas.openxmlformats.org/officeDocument/2006/relationships/image" Target="file:///C:\Users\tobr\OneDrive%20-%20NRGi%20A%20S\Projekter\ProjectBasedInternship\Data\Results\Presentation\4_7_rf_et.svg" TargetMode="Externa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58.svg"/><Relationship Id="rId5" Type="http://schemas.openxmlformats.org/officeDocument/2006/relationships/tags" Target="../tags/tag120.xml"/><Relationship Id="rId10" Type="http://schemas.openxmlformats.org/officeDocument/2006/relationships/image" Target="../media/image57.png"/><Relationship Id="rId4" Type="http://schemas.openxmlformats.org/officeDocument/2006/relationships/tags" Target="../tags/tag119.xml"/><Relationship Id="rId9" Type="http://schemas.openxmlformats.org/officeDocument/2006/relationships/image" Target="../media/image1.emf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4.bin"/><Relationship Id="rId13" Type="http://schemas.openxmlformats.org/officeDocument/2006/relationships/image" Target="../media/image34.png"/><Relationship Id="rId3" Type="http://schemas.openxmlformats.org/officeDocument/2006/relationships/tags" Target="../tags/tag123.xml"/><Relationship Id="rId7" Type="http://schemas.openxmlformats.org/officeDocument/2006/relationships/notesSlide" Target="../notesSlides/notesSlide39.xml"/><Relationship Id="rId12" Type="http://schemas.openxmlformats.org/officeDocument/2006/relationships/image" Target="file:///C:\Users\tobr\OneDrive%20-%20NRGi%20A%20S\Projekter\ProjectBasedInternship\Data\Results\Presentation\4_4_gb.svg" TargetMode="Externa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60.svg"/><Relationship Id="rId5" Type="http://schemas.openxmlformats.org/officeDocument/2006/relationships/tags" Target="../tags/tag125.xml"/><Relationship Id="rId10" Type="http://schemas.openxmlformats.org/officeDocument/2006/relationships/image" Target="../media/image59.png"/><Relationship Id="rId4" Type="http://schemas.openxmlformats.org/officeDocument/2006/relationships/tags" Target="../tags/tag124.xml"/><Relationship Id="rId9" Type="http://schemas.openxmlformats.org/officeDocument/2006/relationships/image" Target="../media/image1.emf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5.bin"/><Relationship Id="rId13" Type="http://schemas.openxmlformats.org/officeDocument/2006/relationships/image" Target="../media/image34.png"/><Relationship Id="rId3" Type="http://schemas.openxmlformats.org/officeDocument/2006/relationships/tags" Target="../tags/tag128.xml"/><Relationship Id="rId7" Type="http://schemas.openxmlformats.org/officeDocument/2006/relationships/notesSlide" Target="../notesSlides/notesSlide40.xml"/><Relationship Id="rId12" Type="http://schemas.openxmlformats.org/officeDocument/2006/relationships/image" Target="file:///C:\Users\tobr\OneDrive%20-%20NRGi%20A%20S\Projekter\ProjectBasedInternship\Data\Results\Presentation\4_5_xgb.svg" TargetMode="Externa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62.svg"/><Relationship Id="rId5" Type="http://schemas.openxmlformats.org/officeDocument/2006/relationships/tags" Target="../tags/tag130.xml"/><Relationship Id="rId10" Type="http://schemas.openxmlformats.org/officeDocument/2006/relationships/image" Target="../media/image61.png"/><Relationship Id="rId4" Type="http://schemas.openxmlformats.org/officeDocument/2006/relationships/tags" Target="../tags/tag129.xml"/><Relationship Id="rId9" Type="http://schemas.openxmlformats.org/officeDocument/2006/relationships/image" Target="../media/image1.emf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6.bin"/><Relationship Id="rId13" Type="http://schemas.openxmlformats.org/officeDocument/2006/relationships/image" Target="../media/image34.png"/><Relationship Id="rId3" Type="http://schemas.openxmlformats.org/officeDocument/2006/relationships/tags" Target="../tags/tag133.xml"/><Relationship Id="rId7" Type="http://schemas.openxmlformats.org/officeDocument/2006/relationships/notesSlide" Target="../notesSlides/notesSlide41.xml"/><Relationship Id="rId12" Type="http://schemas.openxmlformats.org/officeDocument/2006/relationships/image" Target="file:///C:\Users\tobr\OneDrive%20-%20NRGi%20A%20S\Projekter\ProjectBasedInternship\Data\Results\Presentation\4_6_boost.svg" TargetMode="Externa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64.svg"/><Relationship Id="rId5" Type="http://schemas.openxmlformats.org/officeDocument/2006/relationships/tags" Target="../tags/tag135.xml"/><Relationship Id="rId10" Type="http://schemas.openxmlformats.org/officeDocument/2006/relationships/image" Target="../media/image63.png"/><Relationship Id="rId4" Type="http://schemas.openxmlformats.org/officeDocument/2006/relationships/tags" Target="../tags/tag134.xml"/><Relationship Id="rId9" Type="http://schemas.openxmlformats.org/officeDocument/2006/relationships/image" Target="../media/image1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6.xml"/><Relationship Id="rId4" Type="http://schemas.openxmlformats.org/officeDocument/2006/relationships/image" Target="../media/image1.emf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5_0_lstm_tune.svg" TargetMode="External"/><Relationship Id="rId3" Type="http://schemas.openxmlformats.org/officeDocument/2006/relationships/notesSlide" Target="../notesSlides/notesSlide42.xml"/><Relationship Id="rId7" Type="http://schemas.openxmlformats.org/officeDocument/2006/relationships/image" Target="../media/image66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37.xml"/><Relationship Id="rId6" Type="http://schemas.openxmlformats.org/officeDocument/2006/relationships/image" Target="../media/image6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file:///C:\Users\tobr\OneDrive%20-%20NRGi%20A%20S\Projekter\ProjectBasedInternship\Data\Results\Presentation\5_0_loss.svg" TargetMode="External"/><Relationship Id="rId3" Type="http://schemas.openxmlformats.org/officeDocument/2006/relationships/notesSlide" Target="../notesSlides/notesSlide43.xml"/><Relationship Id="rId7" Type="http://schemas.openxmlformats.org/officeDocument/2006/relationships/image" Target="../media/image68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38.xml"/><Relationship Id="rId6" Type="http://schemas.openxmlformats.org/officeDocument/2006/relationships/image" Target="../media/image6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0.bin"/><Relationship Id="rId13" Type="http://schemas.openxmlformats.org/officeDocument/2006/relationships/image" Target="../media/image34.png"/><Relationship Id="rId3" Type="http://schemas.openxmlformats.org/officeDocument/2006/relationships/tags" Target="../tags/tag141.xml"/><Relationship Id="rId7" Type="http://schemas.openxmlformats.org/officeDocument/2006/relationships/notesSlide" Target="../notesSlides/notesSlide44.xml"/><Relationship Id="rId12" Type="http://schemas.openxmlformats.org/officeDocument/2006/relationships/image" Target="file:///C:\Users\tobr\OneDrive%20-%20NRGi%20A%20S\Projekter\ProjectBasedInternship\Data\Results\Presentation\5_1_lstm.svg" TargetMode="Externa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70.svg"/><Relationship Id="rId5" Type="http://schemas.openxmlformats.org/officeDocument/2006/relationships/tags" Target="../tags/tag143.xml"/><Relationship Id="rId10" Type="http://schemas.openxmlformats.org/officeDocument/2006/relationships/image" Target="../media/image69.png"/><Relationship Id="rId4" Type="http://schemas.openxmlformats.org/officeDocument/2006/relationships/tags" Target="../tags/tag142.xml"/><Relationship Id="rId9" Type="http://schemas.openxmlformats.org/officeDocument/2006/relationships/image" Target="../media/image1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44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2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3.x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C5B1A34-4CF2-0504-3BE2-26A1E21AF6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3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C5B1A34-4CF2-0504-3BE2-26A1E21AF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ladsholder til billede 43">
            <a:extLst>
              <a:ext uri="{FF2B5EF4-FFF2-40B4-BE49-F238E27FC236}">
                <a16:creationId xmlns:a16="http://schemas.microsoft.com/office/drawing/2014/main" id="{300612C0-B09C-4184-9B47-184F0D0789C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alphaModFix amt="20000"/>
          </a:blip>
          <a:srcRect t="7812" b="7812"/>
          <a:stretch/>
        </p:blipFill>
        <p:spPr>
          <a:xfrm>
            <a:off x="0" y="0"/>
            <a:ext cx="12192000" cy="6858000"/>
          </a:xfrm>
        </p:spPr>
      </p:pic>
      <p:sp>
        <p:nvSpPr>
          <p:cNvPr id="54" name="Titel 53">
            <a:extLst>
              <a:ext uri="{FF2B5EF4-FFF2-40B4-BE49-F238E27FC236}">
                <a16:creationId xmlns:a16="http://schemas.microsoft.com/office/drawing/2014/main" id="{80FB860F-3E3A-43EB-B273-14B2246A3D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926385"/>
            <a:ext cx="7085012" cy="1661993"/>
          </a:xfrm>
        </p:spPr>
        <p:txBody>
          <a:bodyPr vert="horz" anchor="t"/>
          <a:lstStyle/>
          <a:p>
            <a:r>
              <a:rPr lang="da-DK" dirty="0"/>
              <a:t>Risikovurdering af entrepriseprojekter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B924460-1A6C-4030-8DE0-387B74186E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2663" y="4719353"/>
            <a:ext cx="6272716" cy="749955"/>
          </a:xfrm>
        </p:spPr>
        <p:txBody>
          <a:bodyPr/>
          <a:lstStyle/>
          <a:p>
            <a:r>
              <a:rPr lang="da-DK"/>
              <a:t>Projektbaseret praktikforløb | Efterår 2023</a:t>
            </a:r>
            <a:endParaRPr lang="da-DK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D4D0AD-0A75-4D15-8D92-457BD4B8F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824816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20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etode</a:t>
            </a:r>
          </a:p>
        </p:txBody>
      </p:sp>
      <p:graphicFrame>
        <p:nvGraphicFramePr>
          <p:cNvPr id="6" name="Pladsholder til indhold 5">
            <a:extLst>
              <a:ext uri="{FF2B5EF4-FFF2-40B4-BE49-F238E27FC236}">
                <a16:creationId xmlns:a16="http://schemas.microsoft.com/office/drawing/2014/main" id="{59551955-6298-1942-C3C9-BBFAA7A920D6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0973053"/>
              </p:ext>
            </p:extLst>
          </p:nvPr>
        </p:nvGraphicFramePr>
        <p:xfrm>
          <a:off x="982663" y="2667000"/>
          <a:ext cx="10874375" cy="3498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8467371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Pladsholder til indhold 9">
                <a:extLst>
                  <a:ext uri="{FF2B5EF4-FFF2-40B4-BE49-F238E27FC236}">
                    <a16:creationId xmlns:a16="http://schemas.microsoft.com/office/drawing/2014/main" id="{6123F9E9-4EDA-8639-0B90-4D3A855C3D7A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982663" y="1088631"/>
                <a:ext cx="6411741" cy="5077220"/>
              </a:xfrm>
            </p:spPr>
            <p:txBody>
              <a:bodyPr/>
              <a:lstStyle/>
              <a:p>
                <a:pPr>
                  <a:lnSpc>
                    <a:spcPct val="100000"/>
                  </a:lnSpc>
                </a:pPr>
                <a:r>
                  <a:rPr lang="da-DK" sz="1600" b="1" dirty="0"/>
                  <a:t>Ordinary </a:t>
                </a:r>
                <a:r>
                  <a:rPr lang="da-DK" sz="1600" b="1" dirty="0" err="1"/>
                  <a:t>Least</a:t>
                </a:r>
                <a:r>
                  <a:rPr lang="da-DK" sz="1600" b="1" dirty="0"/>
                  <a:t> Squares </a:t>
                </a:r>
                <a:r>
                  <a:rPr lang="da-DK" sz="1600" dirty="0"/>
                  <a:t>(mindste kvadraters metode)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Vi approksimerer den rette linje, som </a:t>
                </a:r>
                <a:r>
                  <a:rPr lang="da-DK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bedst</a:t>
                </a:r>
                <a:r>
                  <a:rPr lang="da-DK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beskriver datasættet. På den måde kan vi give et kvalificeret bud på den fremtidige udvikling.</a:t>
                </a:r>
              </a:p>
              <a:p>
                <a:pPr lvl="2">
                  <a:lnSpc>
                    <a:spcPct val="100000"/>
                  </a:lnSpc>
                </a:pPr>
                <a:r>
                  <a:rPr lang="da-DK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Den </a:t>
                </a:r>
                <a:r>
                  <a:rPr lang="da-DK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bedste </a:t>
                </a:r>
                <a:r>
                  <a:rPr lang="da-DK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linje er den løsning, som minimerer summen af de kvadrerede fejl i hver enkelt ligning.</a:t>
                </a:r>
              </a:p>
              <a:p>
                <a:pPr lvl="2">
                  <a:lnSpc>
                    <a:spcPct val="100000"/>
                  </a:lnSpc>
                </a:pPr>
                <a:endParaRPr lang="da-DK" sz="1600" dirty="0"/>
              </a:p>
              <a:p>
                <a:pPr lvl="1">
                  <a:lnSpc>
                    <a:spcPct val="100000"/>
                  </a:lnSpc>
                </a:pPr>
                <a:endParaRPr lang="da-DK" sz="1600" dirty="0"/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Vi antager at fremtiden udvikler sig på samme måde som fortiden.</a:t>
                </a:r>
              </a:p>
              <a:p>
                <a:pPr>
                  <a:lnSpc>
                    <a:spcPct val="100000"/>
                  </a:lnSpc>
                </a:pPr>
                <a:r>
                  <a:rPr lang="da-DK" sz="1600" b="1" dirty="0" err="1"/>
                  <a:t>Elastic</a:t>
                </a:r>
                <a:r>
                  <a:rPr lang="da-DK" sz="1600" b="1" dirty="0"/>
                  <a:t> Net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For at undgå at modellen bliver for specifik (</a:t>
                </a:r>
                <a:r>
                  <a:rPr lang="da-DK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overfitting</a:t>
                </a:r>
                <a:r>
                  <a:rPr lang="da-DK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), kan vi regulere opførslen ved at definere følgende:</a:t>
                </a:r>
              </a:p>
              <a:p>
                <a:pPr lvl="1">
                  <a:lnSpc>
                    <a:spcPct val="100000"/>
                  </a:lnSpc>
                </a:pPr>
                <a:endParaRPr lang="da-DK" sz="1600" dirty="0"/>
              </a:p>
              <a:p>
                <a:pPr lvl="1">
                  <a:lnSpc>
                    <a:spcPct val="100000"/>
                  </a:lnSpc>
                </a:pPr>
                <a:endParaRPr lang="da-DK" sz="1600" dirty="0"/>
              </a:p>
              <a:p>
                <a:pPr lvl="1">
                  <a:lnSpc>
                    <a:spcPct val="10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a-DK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a-DK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da-DK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sikrer at vi kun medtager relevante variable.</a:t>
                </a:r>
              </a:p>
              <a:p>
                <a:pPr lvl="1">
                  <a:lnSpc>
                    <a:spcPct val="10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a-DK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a-DK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da-DK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a-DK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sikrer at vi får flest mulige perspektiver ved at gruppere ensartede observationer.</a:t>
                </a:r>
              </a:p>
              <a:p>
                <a:pPr lvl="1">
                  <a:lnSpc>
                    <a:spcPct val="100000"/>
                  </a:lnSpc>
                </a:pPr>
                <a:endParaRPr lang="da-DK" sz="1600" dirty="0"/>
              </a:p>
              <a:p>
                <a:pPr marL="179025" lvl="1" indent="0">
                  <a:lnSpc>
                    <a:spcPct val="100000"/>
                  </a:lnSpc>
                  <a:buNone/>
                </a:pPr>
                <a:endParaRPr lang="da-DK" sz="1600" dirty="0"/>
              </a:p>
              <a:p>
                <a:pPr lvl="1">
                  <a:lnSpc>
                    <a:spcPct val="100000"/>
                  </a:lnSpc>
                </a:pPr>
                <a:endParaRPr lang="da-DK" sz="1600" dirty="0"/>
              </a:p>
              <a:p>
                <a:pPr marL="0" indent="0">
                  <a:lnSpc>
                    <a:spcPct val="100000"/>
                  </a:lnSpc>
                  <a:buNone/>
                </a:pPr>
                <a:endParaRPr lang="da-DK" dirty="0"/>
              </a:p>
            </p:txBody>
          </p:sp>
        </mc:Choice>
        <mc:Fallback>
          <p:sp>
            <p:nvSpPr>
              <p:cNvPr id="10" name="Pladsholder til indhold 9">
                <a:extLst>
                  <a:ext uri="{FF2B5EF4-FFF2-40B4-BE49-F238E27FC236}">
                    <a16:creationId xmlns:a16="http://schemas.microsoft.com/office/drawing/2014/main" id="{6123F9E9-4EDA-8639-0B90-4D3A855C3D7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982663" y="1088631"/>
                <a:ext cx="6411741" cy="5077220"/>
              </a:xfrm>
              <a:blipFill>
                <a:blip r:embed="rId8"/>
                <a:stretch>
                  <a:fillRect l="-1806" t="-1322" r="-1616"/>
                </a:stretch>
              </a:blipFill>
            </p:spPr>
            <p:txBody>
              <a:bodyPr/>
              <a:lstStyle/>
              <a:p>
                <a:r>
                  <a:rPr lang="da-DK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" name="Gruppe 10">
            <a:extLst>
              <a:ext uri="{FF2B5EF4-FFF2-40B4-BE49-F238E27FC236}">
                <a16:creationId xmlns:a16="http://schemas.microsoft.com/office/drawing/2014/main" id="{0F58D1DA-222B-74C6-297E-33EBF5B6B9EA}"/>
              </a:ext>
            </a:extLst>
          </p:cNvPr>
          <p:cNvGrpSpPr/>
          <p:nvPr/>
        </p:nvGrpSpPr>
        <p:grpSpPr>
          <a:xfrm>
            <a:off x="7394405" y="1088631"/>
            <a:ext cx="4721680" cy="3630326"/>
            <a:chOff x="6583626" y="1266823"/>
            <a:chExt cx="5608374" cy="4137007"/>
          </a:xfrm>
        </p:grpSpPr>
        <p:pic>
          <p:nvPicPr>
            <p:cNvPr id="3" name="Billede 2" descr="Et billede, der indeholder diagram, linje/række, tekst, Kurve&#10;&#10;Automatisk genereret beskrivelse">
              <a:extLst>
                <a:ext uri="{FF2B5EF4-FFF2-40B4-BE49-F238E27FC236}">
                  <a16:creationId xmlns:a16="http://schemas.microsoft.com/office/drawing/2014/main" id="{45393ACF-1CB5-B03A-ED7C-46A191BF8C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583626" y="1266823"/>
              <a:ext cx="5608374" cy="4137007"/>
            </a:xfrm>
            <a:prstGeom prst="rect">
              <a:avLst/>
            </a:prstGeom>
          </p:spPr>
        </p:pic>
        <p:sp>
          <p:nvSpPr>
            <p:cNvPr id="5" name="Tekstfelt 4">
              <a:extLst>
                <a:ext uri="{FF2B5EF4-FFF2-40B4-BE49-F238E27FC236}">
                  <a16:creationId xmlns:a16="http://schemas.microsoft.com/office/drawing/2014/main" id="{53EA8302-BA34-229A-AB52-5359E6266F4E}"/>
                </a:ext>
              </a:extLst>
            </p:cNvPr>
            <p:cNvSpPr txBox="1"/>
            <p:nvPr/>
          </p:nvSpPr>
          <p:spPr>
            <a:xfrm>
              <a:off x="6882494" y="1463995"/>
              <a:ext cx="538843" cy="13849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0" indent="0" algn="l">
                <a:buNone/>
              </a:pPr>
              <a:r>
                <a:rPr lang="da-DK" sz="900" i="1" dirty="0">
                  <a:latin typeface="Arial" panose="020B0604020202020204" pitchFamily="34" charset="0"/>
                  <a:cs typeface="Arial" panose="020B0604020202020204" pitchFamily="34" charset="0"/>
                </a:rPr>
                <a:t>Project 1</a:t>
              </a:r>
            </a:p>
          </p:txBody>
        </p:sp>
        <p:sp>
          <p:nvSpPr>
            <p:cNvPr id="8" name="Tekstfelt 7">
              <a:extLst>
                <a:ext uri="{FF2B5EF4-FFF2-40B4-BE49-F238E27FC236}">
                  <a16:creationId xmlns:a16="http://schemas.microsoft.com/office/drawing/2014/main" id="{B630046A-ED9F-1DDD-CD16-C3D6C299BD38}"/>
                </a:ext>
              </a:extLst>
            </p:cNvPr>
            <p:cNvSpPr txBox="1"/>
            <p:nvPr/>
          </p:nvSpPr>
          <p:spPr>
            <a:xfrm>
              <a:off x="7590066" y="1463995"/>
              <a:ext cx="538843" cy="13849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0" indent="0" algn="l">
                <a:buNone/>
              </a:pPr>
              <a:r>
                <a:rPr lang="da-DK" sz="900" i="1" dirty="0">
                  <a:latin typeface="Arial" panose="020B0604020202020204" pitchFamily="34" charset="0"/>
                  <a:cs typeface="Arial" panose="020B0604020202020204" pitchFamily="34" charset="0"/>
                </a:rPr>
                <a:t>Project 2</a:t>
              </a:r>
            </a:p>
          </p:txBody>
        </p:sp>
        <p:sp>
          <p:nvSpPr>
            <p:cNvPr id="9" name="Tekstfelt 8">
              <a:extLst>
                <a:ext uri="{FF2B5EF4-FFF2-40B4-BE49-F238E27FC236}">
                  <a16:creationId xmlns:a16="http://schemas.microsoft.com/office/drawing/2014/main" id="{DE91053D-445F-4073-F406-257A81043C53}"/>
                </a:ext>
              </a:extLst>
            </p:cNvPr>
            <p:cNvSpPr txBox="1"/>
            <p:nvPr/>
          </p:nvSpPr>
          <p:spPr>
            <a:xfrm>
              <a:off x="8313963" y="1463995"/>
              <a:ext cx="538843" cy="13849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0" indent="0" algn="l">
                <a:buNone/>
              </a:pPr>
              <a:r>
                <a:rPr lang="da-DK" sz="900" i="1" dirty="0">
                  <a:latin typeface="Arial" panose="020B0604020202020204" pitchFamily="34" charset="0"/>
                  <a:cs typeface="Arial" panose="020B0604020202020204" pitchFamily="34" charset="0"/>
                </a:rPr>
                <a:t>Project 3</a:t>
              </a:r>
            </a:p>
          </p:txBody>
        </p:sp>
      </p:grpSp>
      <p:pic>
        <p:nvPicPr>
          <p:cNvPr id="7" name="Billede 6" descr="\documentclass{article}&#10;\usepackage{amsmath}&#10;\pagestyle{empty}&#10;\begin{document}&#10;&#10;&#10;\begin{equation*}&#10;\hat{\boldsymbol{\beta}}_{en}\equiv \underset{\beta}{\text{argmin}} \biggl\{ \lVert \mathbf{Y} - \mathbf{X}\boldsymbol{\beta} \rVert^{2} + \lambda_1 \lVert \boldsymbol{\beta} \rVert  + \lambda_2 \lVert \boldsymbol{\beta} \rVert^2 \biggr\}.&#10;\end{equation*}&#10;&#10;\end{document}" title="IguanaTex Bitmap Display">
            <a:extLst>
              <a:ext uri="{FF2B5EF4-FFF2-40B4-BE49-F238E27FC236}">
                <a16:creationId xmlns:a16="http://schemas.microsoft.com/office/drawing/2014/main" id="{515F9809-1FC2-E6B6-7857-D179DF6CA87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2047275" y="4365650"/>
            <a:ext cx="4282514" cy="493714"/>
          </a:xfrm>
          <a:prstGeom prst="rect">
            <a:avLst/>
          </a:prstGeom>
        </p:spPr>
      </p:pic>
      <p:pic>
        <p:nvPicPr>
          <p:cNvPr id="14" name="Billede 13" descr="\documentclass{article}&#10;\usepackage{amsmath}&#10;\pagestyle{empty}&#10;\begin{document}&#10;&#10;&#10;\begin{equation*}&#10;\hat{\boldsymbol{\beta}}_{ols}\equiv \underset{\beta}{\text{argmin}} \biggl\{ \lVert \mathbf{Y} - \mathbf{X}\boldsymbol{\beta} \rVert^{2} \biggr\}.&#10;\end{equation*}&#10;&#10;\end{document}" title="IguanaTex Bitmap Display">
            <a:extLst>
              <a:ext uri="{FF2B5EF4-FFF2-40B4-BE49-F238E27FC236}">
                <a16:creationId xmlns:a16="http://schemas.microsoft.com/office/drawing/2014/main" id="{F0C8CE49-B851-2BD9-295A-7D1ABEFCAAF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2874799" y="2564289"/>
            <a:ext cx="2627467" cy="494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5889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4" y="1088631"/>
            <a:ext cx="5535650" cy="50772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sz="1600" b="1" dirty="0" err="1"/>
              <a:t>Random</a:t>
            </a:r>
            <a:r>
              <a:rPr lang="da-DK" sz="1600" b="1" dirty="0"/>
              <a:t> Forest</a:t>
            </a:r>
          </a:p>
          <a:p>
            <a:pPr lvl="1">
              <a:lnSpc>
                <a:spcPct val="100000"/>
              </a:lnSpc>
            </a:pPr>
            <a:r>
              <a:rPr lang="da-DK" sz="1600" i="1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Ensembling</a:t>
            </a: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-teknik, som kombinerer prædiktioner fra mange modeller til én samlet.</a:t>
            </a:r>
          </a:p>
          <a:p>
            <a:pPr lvl="1">
              <a:lnSpc>
                <a:spcPct val="100000"/>
              </a:lnSpc>
            </a:pPr>
            <a:r>
              <a:rPr lang="da-DK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Random</a:t>
            </a: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Forest bygger på konceptet af beslutningstræer. Et beslutningstræ er en simpel, trælignende struktur, der splitter data baseret på forskellige attributter og tager beslutninger trin for trin.</a:t>
            </a:r>
          </a:p>
          <a:p>
            <a:pPr lvl="1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I en </a:t>
            </a:r>
            <a:r>
              <a:rPr lang="da-DK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Random</a:t>
            </a: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Forest bliver datasættet delt op på tilfældig vis, og hver beslutningstræ får en delmængde af dataene. Dette sikrer, at træerne er forskellige og dermed reducerer risikoen for overfitting.</a:t>
            </a:r>
          </a:p>
          <a:p>
            <a:pPr lvl="1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Hvert træ i en </a:t>
            </a:r>
            <a:r>
              <a:rPr lang="da-DK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Random</a:t>
            </a: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Forest laver sin egen forudsigelse, og når alle træerne har lavet deres forudsigelser, bliver disse forudsigelser kombineret, i dette tilfælde ved at finde gennemsnittet.</a:t>
            </a:r>
          </a:p>
          <a:p>
            <a:pPr marL="359025" lvl="2" indent="0">
              <a:lnSpc>
                <a:spcPct val="100000"/>
              </a:lnSpc>
              <a:buNone/>
            </a:pPr>
            <a:r>
              <a:rPr lang="da-DK" sz="1600" dirty="0"/>
              <a:t> </a:t>
            </a:r>
          </a:p>
          <a:p>
            <a:pPr marL="179025" lvl="1" indent="0">
              <a:lnSpc>
                <a:spcPct val="100000"/>
              </a:lnSpc>
              <a:buNone/>
            </a:pPr>
            <a:endParaRPr lang="da-DK" sz="1600" dirty="0"/>
          </a:p>
          <a:p>
            <a:pPr lvl="1">
              <a:lnSpc>
                <a:spcPct val="100000"/>
              </a:lnSpc>
            </a:pPr>
            <a:endParaRPr lang="da-DK" sz="1600" dirty="0"/>
          </a:p>
          <a:p>
            <a:pPr marL="0" indent="0">
              <a:lnSpc>
                <a:spcPct val="100000"/>
              </a:lnSpc>
              <a:buNone/>
            </a:pPr>
            <a:endParaRPr lang="da-DK" dirty="0"/>
          </a:p>
        </p:txBody>
      </p:sp>
      <p:grpSp>
        <p:nvGrpSpPr>
          <p:cNvPr id="7" name="Gruppe 6">
            <a:extLst>
              <a:ext uri="{FF2B5EF4-FFF2-40B4-BE49-F238E27FC236}">
                <a16:creationId xmlns:a16="http://schemas.microsoft.com/office/drawing/2014/main" id="{C904598B-EC22-26E1-9F66-CAF863E3524E}"/>
              </a:ext>
            </a:extLst>
          </p:cNvPr>
          <p:cNvGrpSpPr/>
          <p:nvPr/>
        </p:nvGrpSpPr>
        <p:grpSpPr>
          <a:xfrm>
            <a:off x="9772845" y="1406737"/>
            <a:ext cx="2084193" cy="2157753"/>
            <a:chOff x="5868059" y="1568668"/>
            <a:chExt cx="2084193" cy="2157753"/>
          </a:xfrm>
        </p:grpSpPr>
        <p:sp>
          <p:nvSpPr>
            <p:cNvPr id="8" name="Kombinationstegning: figur 7">
              <a:extLst>
                <a:ext uri="{FF2B5EF4-FFF2-40B4-BE49-F238E27FC236}">
                  <a16:creationId xmlns:a16="http://schemas.microsoft.com/office/drawing/2014/main" id="{0576E1AC-95E7-92B3-F696-3D2A14753903}"/>
                </a:ext>
              </a:extLst>
            </p:cNvPr>
            <p:cNvSpPr/>
            <p:nvPr/>
          </p:nvSpPr>
          <p:spPr>
            <a:xfrm>
              <a:off x="6824336" y="156866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9" name="Kombinationstegning: figur 8">
              <a:extLst>
                <a:ext uri="{FF2B5EF4-FFF2-40B4-BE49-F238E27FC236}">
                  <a16:creationId xmlns:a16="http://schemas.microsoft.com/office/drawing/2014/main" id="{E9BD0B23-178C-AC98-727C-20DC54AD968D}"/>
                </a:ext>
              </a:extLst>
            </p:cNvPr>
            <p:cNvSpPr/>
            <p:nvPr/>
          </p:nvSpPr>
          <p:spPr>
            <a:xfrm>
              <a:off x="6432017" y="1895600"/>
              <a:ext cx="637518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637518" y="0"/>
                  </a:moveTo>
                  <a:lnTo>
                    <a:pt x="637518" y="65386"/>
                  </a:lnTo>
                  <a:lnTo>
                    <a:pt x="0" y="65386"/>
                  </a:lnTo>
                  <a:lnTo>
                    <a:pt x="0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1" name="Kombinationstegning: figur 10">
              <a:extLst>
                <a:ext uri="{FF2B5EF4-FFF2-40B4-BE49-F238E27FC236}">
                  <a16:creationId xmlns:a16="http://schemas.microsoft.com/office/drawing/2014/main" id="{84A9990C-48CA-840C-0260-0A9D285216B7}"/>
                </a:ext>
              </a:extLst>
            </p:cNvPr>
            <p:cNvSpPr/>
            <p:nvPr/>
          </p:nvSpPr>
          <p:spPr>
            <a:xfrm>
              <a:off x="6186818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2" name="Kombinationstegning: figur 11">
              <a:extLst>
                <a:ext uri="{FF2B5EF4-FFF2-40B4-BE49-F238E27FC236}">
                  <a16:creationId xmlns:a16="http://schemas.microsoft.com/office/drawing/2014/main" id="{9C901F3E-996B-8A6C-0C3C-D883A460B803}"/>
                </a:ext>
              </a:extLst>
            </p:cNvPr>
            <p:cNvSpPr/>
            <p:nvPr/>
          </p:nvSpPr>
          <p:spPr>
            <a:xfrm>
              <a:off x="6113258" y="2353305"/>
              <a:ext cx="318759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318759" y="0"/>
                  </a:moveTo>
                  <a:lnTo>
                    <a:pt x="318759" y="65386"/>
                  </a:lnTo>
                  <a:lnTo>
                    <a:pt x="0" y="65386"/>
                  </a:lnTo>
                  <a:lnTo>
                    <a:pt x="0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3" name="Kombinationstegning: figur 12">
              <a:extLst>
                <a:ext uri="{FF2B5EF4-FFF2-40B4-BE49-F238E27FC236}">
                  <a16:creationId xmlns:a16="http://schemas.microsoft.com/office/drawing/2014/main" id="{C1647C01-3CA8-28A2-7121-B639EC7593BD}"/>
                </a:ext>
              </a:extLst>
            </p:cNvPr>
            <p:cNvSpPr/>
            <p:nvPr/>
          </p:nvSpPr>
          <p:spPr>
            <a:xfrm>
              <a:off x="5868059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4" name="Kombinationstegning: figur 13">
              <a:extLst>
                <a:ext uri="{FF2B5EF4-FFF2-40B4-BE49-F238E27FC236}">
                  <a16:creationId xmlns:a16="http://schemas.microsoft.com/office/drawing/2014/main" id="{AA1D4499-D718-B10E-D57E-44B35F36A7F3}"/>
                </a:ext>
              </a:extLst>
            </p:cNvPr>
            <p:cNvSpPr/>
            <p:nvPr/>
          </p:nvSpPr>
          <p:spPr>
            <a:xfrm>
              <a:off x="6432017" y="2353305"/>
              <a:ext cx="318759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86"/>
                  </a:lnTo>
                  <a:lnTo>
                    <a:pt x="318759" y="65386"/>
                  </a:lnTo>
                  <a:lnTo>
                    <a:pt x="318759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5" name="Kombinationstegning: figur 14">
              <a:extLst>
                <a:ext uri="{FF2B5EF4-FFF2-40B4-BE49-F238E27FC236}">
                  <a16:creationId xmlns:a16="http://schemas.microsoft.com/office/drawing/2014/main" id="{D726165E-F080-3B74-B1EC-76DDAC068256}"/>
                </a:ext>
              </a:extLst>
            </p:cNvPr>
            <p:cNvSpPr/>
            <p:nvPr/>
          </p:nvSpPr>
          <p:spPr>
            <a:xfrm>
              <a:off x="6505577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6" name="Kombinationstegning: figur 15">
              <a:extLst>
                <a:ext uri="{FF2B5EF4-FFF2-40B4-BE49-F238E27FC236}">
                  <a16:creationId xmlns:a16="http://schemas.microsoft.com/office/drawing/2014/main" id="{1A02FAFD-7DFA-6351-D48C-6D8DC39842BC}"/>
                </a:ext>
              </a:extLst>
            </p:cNvPr>
            <p:cNvSpPr/>
            <p:nvPr/>
          </p:nvSpPr>
          <p:spPr>
            <a:xfrm>
              <a:off x="7023816" y="1895600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7" name="Kombinationstegning: figur 16">
              <a:extLst>
                <a:ext uri="{FF2B5EF4-FFF2-40B4-BE49-F238E27FC236}">
                  <a16:creationId xmlns:a16="http://schemas.microsoft.com/office/drawing/2014/main" id="{57A9FA3E-EB71-84CF-F047-33077DAF0CF4}"/>
                </a:ext>
              </a:extLst>
            </p:cNvPr>
            <p:cNvSpPr/>
            <p:nvPr/>
          </p:nvSpPr>
          <p:spPr>
            <a:xfrm>
              <a:off x="6824336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18" name="Kombinationstegning: figur 17">
              <a:extLst>
                <a:ext uri="{FF2B5EF4-FFF2-40B4-BE49-F238E27FC236}">
                  <a16:creationId xmlns:a16="http://schemas.microsoft.com/office/drawing/2014/main" id="{EA17F798-0E3B-9564-DB92-C0FB3F01619F}"/>
                </a:ext>
              </a:extLst>
            </p:cNvPr>
            <p:cNvSpPr/>
            <p:nvPr/>
          </p:nvSpPr>
          <p:spPr>
            <a:xfrm>
              <a:off x="7069536" y="1895600"/>
              <a:ext cx="637518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86"/>
                  </a:lnTo>
                  <a:lnTo>
                    <a:pt x="637518" y="65386"/>
                  </a:lnTo>
                  <a:lnTo>
                    <a:pt x="637518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9" name="Kombinationstegning: figur 18">
              <a:extLst>
                <a:ext uri="{FF2B5EF4-FFF2-40B4-BE49-F238E27FC236}">
                  <a16:creationId xmlns:a16="http://schemas.microsoft.com/office/drawing/2014/main" id="{1EB3E8AB-F1C3-7F76-05B7-0A8111C08DDE}"/>
                </a:ext>
              </a:extLst>
            </p:cNvPr>
            <p:cNvSpPr/>
            <p:nvPr/>
          </p:nvSpPr>
          <p:spPr>
            <a:xfrm>
              <a:off x="7461854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0" name="Kombinationstegning: figur 19">
              <a:extLst>
                <a:ext uri="{FF2B5EF4-FFF2-40B4-BE49-F238E27FC236}">
                  <a16:creationId xmlns:a16="http://schemas.microsoft.com/office/drawing/2014/main" id="{9217CF16-B68D-1D79-6DD2-D3418D7B91E7}"/>
                </a:ext>
              </a:extLst>
            </p:cNvPr>
            <p:cNvSpPr/>
            <p:nvPr/>
          </p:nvSpPr>
          <p:spPr>
            <a:xfrm>
              <a:off x="7661334" y="2353305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1" name="Kombinationstegning: figur 20">
              <a:extLst>
                <a:ext uri="{FF2B5EF4-FFF2-40B4-BE49-F238E27FC236}">
                  <a16:creationId xmlns:a16="http://schemas.microsoft.com/office/drawing/2014/main" id="{5E062866-C361-671C-DE77-A2553C7BE5C7}"/>
                </a:ext>
              </a:extLst>
            </p:cNvPr>
            <p:cNvSpPr/>
            <p:nvPr/>
          </p:nvSpPr>
          <p:spPr>
            <a:xfrm>
              <a:off x="7461854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2" name="Kombinationstegning: figur 21">
              <a:extLst>
                <a:ext uri="{FF2B5EF4-FFF2-40B4-BE49-F238E27FC236}">
                  <a16:creationId xmlns:a16="http://schemas.microsoft.com/office/drawing/2014/main" id="{23C4ACD4-A439-316F-58DC-2B6B63F9CA1D}"/>
                </a:ext>
              </a:extLst>
            </p:cNvPr>
            <p:cNvSpPr/>
            <p:nvPr/>
          </p:nvSpPr>
          <p:spPr>
            <a:xfrm>
              <a:off x="7661334" y="2811011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3" name="Kombinationstegning: figur 22">
              <a:extLst>
                <a:ext uri="{FF2B5EF4-FFF2-40B4-BE49-F238E27FC236}">
                  <a16:creationId xmlns:a16="http://schemas.microsoft.com/office/drawing/2014/main" id="{08360487-A980-E11A-6855-FD0D8C23BDF2}"/>
                </a:ext>
              </a:extLst>
            </p:cNvPr>
            <p:cNvSpPr/>
            <p:nvPr/>
          </p:nvSpPr>
          <p:spPr>
            <a:xfrm>
              <a:off x="7461854" y="2941784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24" name="Kombinationstegning: figur 23">
              <a:extLst>
                <a:ext uri="{FF2B5EF4-FFF2-40B4-BE49-F238E27FC236}">
                  <a16:creationId xmlns:a16="http://schemas.microsoft.com/office/drawing/2014/main" id="{ACE36EC8-894E-3037-22BD-EA8F6CCB3012}"/>
                </a:ext>
              </a:extLst>
            </p:cNvPr>
            <p:cNvSpPr/>
            <p:nvPr/>
          </p:nvSpPr>
          <p:spPr>
            <a:xfrm>
              <a:off x="7661334" y="3268716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5" name="Kombinationstegning: figur 24">
              <a:extLst>
                <a:ext uri="{FF2B5EF4-FFF2-40B4-BE49-F238E27FC236}">
                  <a16:creationId xmlns:a16="http://schemas.microsoft.com/office/drawing/2014/main" id="{94DB9C94-E29D-55B7-A048-8E5817E20C58}"/>
                </a:ext>
              </a:extLst>
            </p:cNvPr>
            <p:cNvSpPr/>
            <p:nvPr/>
          </p:nvSpPr>
          <p:spPr>
            <a:xfrm>
              <a:off x="7461854" y="3399489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C5271702-E4C9-108A-1920-A0FD05FA156E}"/>
              </a:ext>
            </a:extLst>
          </p:cNvPr>
          <p:cNvGrpSpPr/>
          <p:nvPr/>
        </p:nvGrpSpPr>
        <p:grpSpPr>
          <a:xfrm>
            <a:off x="7295109" y="1407118"/>
            <a:ext cx="2243089" cy="3530106"/>
            <a:chOff x="3336287" y="1570634"/>
            <a:chExt cx="2243089" cy="3530106"/>
          </a:xfrm>
        </p:grpSpPr>
        <p:sp>
          <p:nvSpPr>
            <p:cNvPr id="27" name="Kombinationstegning: figur 26">
              <a:extLst>
                <a:ext uri="{FF2B5EF4-FFF2-40B4-BE49-F238E27FC236}">
                  <a16:creationId xmlns:a16="http://schemas.microsoft.com/office/drawing/2014/main" id="{26E3C25E-716D-8D1F-1D1D-A2E2149D7A77}"/>
                </a:ext>
              </a:extLst>
            </p:cNvPr>
            <p:cNvSpPr/>
            <p:nvPr/>
          </p:nvSpPr>
          <p:spPr>
            <a:xfrm>
              <a:off x="4451703" y="1570634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8" name="Kombinationstegning: figur 27">
              <a:extLst>
                <a:ext uri="{FF2B5EF4-FFF2-40B4-BE49-F238E27FC236}">
                  <a16:creationId xmlns:a16="http://schemas.microsoft.com/office/drawing/2014/main" id="{5206E16E-D6D0-CD81-EEFE-314E8A06EF4B}"/>
                </a:ext>
              </a:extLst>
            </p:cNvPr>
            <p:cNvSpPr/>
            <p:nvPr/>
          </p:nvSpPr>
          <p:spPr>
            <a:xfrm>
              <a:off x="4059469" y="1897496"/>
              <a:ext cx="63738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637380" y="0"/>
                  </a:moveTo>
                  <a:lnTo>
                    <a:pt x="637380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9" name="Kombinationstegning: figur 28">
              <a:extLst>
                <a:ext uri="{FF2B5EF4-FFF2-40B4-BE49-F238E27FC236}">
                  <a16:creationId xmlns:a16="http://schemas.microsoft.com/office/drawing/2014/main" id="{89FE57C3-7A95-EA6B-312C-027758A8EA1A}"/>
                </a:ext>
              </a:extLst>
            </p:cNvPr>
            <p:cNvSpPr/>
            <p:nvPr/>
          </p:nvSpPr>
          <p:spPr>
            <a:xfrm>
              <a:off x="3814323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0" name="Kombinationstegning: figur 29">
              <a:extLst>
                <a:ext uri="{FF2B5EF4-FFF2-40B4-BE49-F238E27FC236}">
                  <a16:creationId xmlns:a16="http://schemas.microsoft.com/office/drawing/2014/main" id="{F37D206A-1D86-FFAA-CB4A-205360271EDF}"/>
                </a:ext>
              </a:extLst>
            </p:cNvPr>
            <p:cNvSpPr/>
            <p:nvPr/>
          </p:nvSpPr>
          <p:spPr>
            <a:xfrm>
              <a:off x="4013749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1" name="Kombinationstegning: figur 30">
              <a:extLst>
                <a:ext uri="{FF2B5EF4-FFF2-40B4-BE49-F238E27FC236}">
                  <a16:creationId xmlns:a16="http://schemas.microsoft.com/office/drawing/2014/main" id="{077FD3EA-C63E-9D06-5019-AEB1B9D87BE4}"/>
                </a:ext>
              </a:extLst>
            </p:cNvPr>
            <p:cNvSpPr/>
            <p:nvPr/>
          </p:nvSpPr>
          <p:spPr>
            <a:xfrm>
              <a:off x="3814323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2" name="Kombinationstegning: figur 31">
              <a:extLst>
                <a:ext uri="{FF2B5EF4-FFF2-40B4-BE49-F238E27FC236}">
                  <a16:creationId xmlns:a16="http://schemas.microsoft.com/office/drawing/2014/main" id="{F15D48E2-5DAA-94F7-994B-39A7D0BEE898}"/>
                </a:ext>
              </a:extLst>
            </p:cNvPr>
            <p:cNvSpPr/>
            <p:nvPr/>
          </p:nvSpPr>
          <p:spPr>
            <a:xfrm>
              <a:off x="4013749" y="2812709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3" name="Kombinationstegning: figur 32">
              <a:extLst>
                <a:ext uri="{FF2B5EF4-FFF2-40B4-BE49-F238E27FC236}">
                  <a16:creationId xmlns:a16="http://schemas.microsoft.com/office/drawing/2014/main" id="{D66BB891-D043-9FC2-B718-BAAB4D19B95F}"/>
                </a:ext>
              </a:extLst>
            </p:cNvPr>
            <p:cNvSpPr/>
            <p:nvPr/>
          </p:nvSpPr>
          <p:spPr>
            <a:xfrm>
              <a:off x="3814323" y="294345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4" name="Kombinationstegning: figur 33">
              <a:extLst>
                <a:ext uri="{FF2B5EF4-FFF2-40B4-BE49-F238E27FC236}">
                  <a16:creationId xmlns:a16="http://schemas.microsoft.com/office/drawing/2014/main" id="{9F40452B-AEFD-8173-7F25-3857F91FC01B}"/>
                </a:ext>
              </a:extLst>
            </p:cNvPr>
            <p:cNvSpPr/>
            <p:nvPr/>
          </p:nvSpPr>
          <p:spPr>
            <a:xfrm>
              <a:off x="3581434" y="3270315"/>
              <a:ext cx="478035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78035" y="0"/>
                  </a:moveTo>
                  <a:lnTo>
                    <a:pt x="478035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5" name="Kombinationstegning: figur 34">
              <a:extLst>
                <a:ext uri="{FF2B5EF4-FFF2-40B4-BE49-F238E27FC236}">
                  <a16:creationId xmlns:a16="http://schemas.microsoft.com/office/drawing/2014/main" id="{22C214EA-DF2F-3240-6097-CF1850AFC665}"/>
                </a:ext>
              </a:extLst>
            </p:cNvPr>
            <p:cNvSpPr/>
            <p:nvPr/>
          </p:nvSpPr>
          <p:spPr>
            <a:xfrm>
              <a:off x="3336287" y="340106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36" name="Kombinationstegning: figur 35">
              <a:extLst>
                <a:ext uri="{FF2B5EF4-FFF2-40B4-BE49-F238E27FC236}">
                  <a16:creationId xmlns:a16="http://schemas.microsoft.com/office/drawing/2014/main" id="{A60F26C6-1F2B-803D-0EE6-F6EC5FFC79FD}"/>
                </a:ext>
              </a:extLst>
            </p:cNvPr>
            <p:cNvSpPr/>
            <p:nvPr/>
          </p:nvSpPr>
          <p:spPr>
            <a:xfrm>
              <a:off x="3535714" y="372792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7" name="Kombinationstegning: figur 36">
              <a:extLst>
                <a:ext uri="{FF2B5EF4-FFF2-40B4-BE49-F238E27FC236}">
                  <a16:creationId xmlns:a16="http://schemas.microsoft.com/office/drawing/2014/main" id="{039E6CD4-8072-32E3-138F-685ADED1ADC0}"/>
                </a:ext>
              </a:extLst>
            </p:cNvPr>
            <p:cNvSpPr/>
            <p:nvPr/>
          </p:nvSpPr>
          <p:spPr>
            <a:xfrm>
              <a:off x="3336287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38" name="Kombinationstegning: figur 37">
              <a:extLst>
                <a:ext uri="{FF2B5EF4-FFF2-40B4-BE49-F238E27FC236}">
                  <a16:creationId xmlns:a16="http://schemas.microsoft.com/office/drawing/2014/main" id="{11298FD7-C9CE-02D0-D595-4A757FD8E75A}"/>
                </a:ext>
              </a:extLst>
            </p:cNvPr>
            <p:cNvSpPr/>
            <p:nvPr/>
          </p:nvSpPr>
          <p:spPr>
            <a:xfrm>
              <a:off x="4059469" y="3270315"/>
              <a:ext cx="478035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478035" y="65372"/>
                  </a:lnTo>
                  <a:lnTo>
                    <a:pt x="478035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9" name="Kombinationstegning: figur 38">
              <a:extLst>
                <a:ext uri="{FF2B5EF4-FFF2-40B4-BE49-F238E27FC236}">
                  <a16:creationId xmlns:a16="http://schemas.microsoft.com/office/drawing/2014/main" id="{DDD66691-20D5-208B-D44C-1B8D4AD29CC8}"/>
                </a:ext>
              </a:extLst>
            </p:cNvPr>
            <p:cNvSpPr/>
            <p:nvPr/>
          </p:nvSpPr>
          <p:spPr>
            <a:xfrm>
              <a:off x="4292358" y="340106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0" name="Kombinationstegning: figur 39">
              <a:extLst>
                <a:ext uri="{FF2B5EF4-FFF2-40B4-BE49-F238E27FC236}">
                  <a16:creationId xmlns:a16="http://schemas.microsoft.com/office/drawing/2014/main" id="{8977EE18-E866-055F-584C-BE1FFACDB2C0}"/>
                </a:ext>
              </a:extLst>
            </p:cNvPr>
            <p:cNvSpPr/>
            <p:nvPr/>
          </p:nvSpPr>
          <p:spPr>
            <a:xfrm>
              <a:off x="4218814" y="3727922"/>
              <a:ext cx="31869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318690" y="0"/>
                  </a:moveTo>
                  <a:lnTo>
                    <a:pt x="318690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1" name="Kombinationstegning: figur 40">
              <a:extLst>
                <a:ext uri="{FF2B5EF4-FFF2-40B4-BE49-F238E27FC236}">
                  <a16:creationId xmlns:a16="http://schemas.microsoft.com/office/drawing/2014/main" id="{A0CE5E68-69E6-D60D-91E5-366BE5B5822D}"/>
                </a:ext>
              </a:extLst>
            </p:cNvPr>
            <p:cNvSpPr/>
            <p:nvPr/>
          </p:nvSpPr>
          <p:spPr>
            <a:xfrm>
              <a:off x="3973668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2" name="Kombinationstegning: figur 41">
              <a:extLst>
                <a:ext uri="{FF2B5EF4-FFF2-40B4-BE49-F238E27FC236}">
                  <a16:creationId xmlns:a16="http://schemas.microsoft.com/office/drawing/2014/main" id="{0EBAFA16-5428-06D2-1750-C64761990E5A}"/>
                </a:ext>
              </a:extLst>
            </p:cNvPr>
            <p:cNvSpPr/>
            <p:nvPr/>
          </p:nvSpPr>
          <p:spPr>
            <a:xfrm>
              <a:off x="4537505" y="3727922"/>
              <a:ext cx="31869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318690" y="65372"/>
                  </a:lnTo>
                  <a:lnTo>
                    <a:pt x="31869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3" name="Kombinationstegning: figur 42">
              <a:extLst>
                <a:ext uri="{FF2B5EF4-FFF2-40B4-BE49-F238E27FC236}">
                  <a16:creationId xmlns:a16="http://schemas.microsoft.com/office/drawing/2014/main" id="{E097D745-6D89-39BB-C07D-F001692468CF}"/>
                </a:ext>
              </a:extLst>
            </p:cNvPr>
            <p:cNvSpPr/>
            <p:nvPr/>
          </p:nvSpPr>
          <p:spPr>
            <a:xfrm>
              <a:off x="4611048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4" name="Kombinationstegning: figur 43">
              <a:extLst>
                <a:ext uri="{FF2B5EF4-FFF2-40B4-BE49-F238E27FC236}">
                  <a16:creationId xmlns:a16="http://schemas.microsoft.com/office/drawing/2014/main" id="{8DF52694-4A69-A0F0-E1C7-E241503842B5}"/>
                </a:ext>
              </a:extLst>
            </p:cNvPr>
            <p:cNvSpPr/>
            <p:nvPr/>
          </p:nvSpPr>
          <p:spPr>
            <a:xfrm>
              <a:off x="4810475" y="4185528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5" name="Kombinationstegning: figur 44">
              <a:extLst>
                <a:ext uri="{FF2B5EF4-FFF2-40B4-BE49-F238E27FC236}">
                  <a16:creationId xmlns:a16="http://schemas.microsoft.com/office/drawing/2014/main" id="{ED274FC7-532B-B80A-8AD6-D6B28F4CBC6C}"/>
                </a:ext>
              </a:extLst>
            </p:cNvPr>
            <p:cNvSpPr/>
            <p:nvPr/>
          </p:nvSpPr>
          <p:spPr>
            <a:xfrm>
              <a:off x="4611048" y="431627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6" name="Kombinationstegning: figur 45">
              <a:extLst>
                <a:ext uri="{FF2B5EF4-FFF2-40B4-BE49-F238E27FC236}">
                  <a16:creationId xmlns:a16="http://schemas.microsoft.com/office/drawing/2014/main" id="{2C357048-C200-101C-02B5-CF370691EEB2}"/>
                </a:ext>
              </a:extLst>
            </p:cNvPr>
            <p:cNvSpPr/>
            <p:nvPr/>
          </p:nvSpPr>
          <p:spPr>
            <a:xfrm>
              <a:off x="4810475" y="4643135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7" name="Kombinationstegning: figur 46">
              <a:extLst>
                <a:ext uri="{FF2B5EF4-FFF2-40B4-BE49-F238E27FC236}">
                  <a16:creationId xmlns:a16="http://schemas.microsoft.com/office/drawing/2014/main" id="{89D91166-086B-1DE0-191D-A0CA779161A9}"/>
                </a:ext>
              </a:extLst>
            </p:cNvPr>
            <p:cNvSpPr/>
            <p:nvPr/>
          </p:nvSpPr>
          <p:spPr>
            <a:xfrm>
              <a:off x="4611048" y="4773879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8" name="Kombinationstegning: figur 47">
              <a:extLst>
                <a:ext uri="{FF2B5EF4-FFF2-40B4-BE49-F238E27FC236}">
                  <a16:creationId xmlns:a16="http://schemas.microsoft.com/office/drawing/2014/main" id="{E93A5604-64C2-FF78-3A5A-43B8B4ABDD8F}"/>
                </a:ext>
              </a:extLst>
            </p:cNvPr>
            <p:cNvSpPr/>
            <p:nvPr/>
          </p:nvSpPr>
          <p:spPr>
            <a:xfrm>
              <a:off x="4651130" y="1897496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9" name="Kombinationstegning: figur 48">
              <a:extLst>
                <a:ext uri="{FF2B5EF4-FFF2-40B4-BE49-F238E27FC236}">
                  <a16:creationId xmlns:a16="http://schemas.microsoft.com/office/drawing/2014/main" id="{40999C9A-3958-55A8-AD86-41E45F1FBBD7}"/>
                </a:ext>
              </a:extLst>
            </p:cNvPr>
            <p:cNvSpPr/>
            <p:nvPr/>
          </p:nvSpPr>
          <p:spPr>
            <a:xfrm>
              <a:off x="4451703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50" name="Kombinationstegning: figur 49">
              <a:extLst>
                <a:ext uri="{FF2B5EF4-FFF2-40B4-BE49-F238E27FC236}">
                  <a16:creationId xmlns:a16="http://schemas.microsoft.com/office/drawing/2014/main" id="{13C90784-4193-05F7-23E0-176BB1673B27}"/>
                </a:ext>
              </a:extLst>
            </p:cNvPr>
            <p:cNvSpPr/>
            <p:nvPr/>
          </p:nvSpPr>
          <p:spPr>
            <a:xfrm>
              <a:off x="4651130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1" name="Kombinationstegning: figur 50">
              <a:extLst>
                <a:ext uri="{FF2B5EF4-FFF2-40B4-BE49-F238E27FC236}">
                  <a16:creationId xmlns:a16="http://schemas.microsoft.com/office/drawing/2014/main" id="{613A9C6C-AEFC-1182-C77B-549E7E66E1BE}"/>
                </a:ext>
              </a:extLst>
            </p:cNvPr>
            <p:cNvSpPr/>
            <p:nvPr/>
          </p:nvSpPr>
          <p:spPr>
            <a:xfrm>
              <a:off x="4451703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2" name="Kombinationstegning: figur 51">
              <a:extLst>
                <a:ext uri="{FF2B5EF4-FFF2-40B4-BE49-F238E27FC236}">
                  <a16:creationId xmlns:a16="http://schemas.microsoft.com/office/drawing/2014/main" id="{16B6463C-FFA8-F5A4-E700-E99D043E4136}"/>
                </a:ext>
              </a:extLst>
            </p:cNvPr>
            <p:cNvSpPr/>
            <p:nvPr/>
          </p:nvSpPr>
          <p:spPr>
            <a:xfrm>
              <a:off x="4696850" y="1897496"/>
              <a:ext cx="63738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637380" y="65372"/>
                  </a:lnTo>
                  <a:lnTo>
                    <a:pt x="63738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3" name="Kombinationstegning: figur 52">
              <a:extLst>
                <a:ext uri="{FF2B5EF4-FFF2-40B4-BE49-F238E27FC236}">
                  <a16:creationId xmlns:a16="http://schemas.microsoft.com/office/drawing/2014/main" id="{4BB8F0EC-4FF9-58F5-08F2-E21A2DBD6FB2}"/>
                </a:ext>
              </a:extLst>
            </p:cNvPr>
            <p:cNvSpPr/>
            <p:nvPr/>
          </p:nvSpPr>
          <p:spPr>
            <a:xfrm>
              <a:off x="5089084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4" name="Kombinationstegning: figur 53">
              <a:extLst>
                <a:ext uri="{FF2B5EF4-FFF2-40B4-BE49-F238E27FC236}">
                  <a16:creationId xmlns:a16="http://schemas.microsoft.com/office/drawing/2014/main" id="{11C0307C-F035-5030-F936-D540C3D23AE9}"/>
                </a:ext>
              </a:extLst>
            </p:cNvPr>
            <p:cNvSpPr/>
            <p:nvPr/>
          </p:nvSpPr>
          <p:spPr>
            <a:xfrm>
              <a:off x="5288510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5" name="Kombinationstegning: figur 54">
              <a:extLst>
                <a:ext uri="{FF2B5EF4-FFF2-40B4-BE49-F238E27FC236}">
                  <a16:creationId xmlns:a16="http://schemas.microsoft.com/office/drawing/2014/main" id="{F2E4655E-FB43-A50E-D49A-4AB3FA22FAC5}"/>
                </a:ext>
              </a:extLst>
            </p:cNvPr>
            <p:cNvSpPr/>
            <p:nvPr/>
          </p:nvSpPr>
          <p:spPr>
            <a:xfrm>
              <a:off x="5089084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6" name="Kombinationstegning: figur 55">
              <a:extLst>
                <a:ext uri="{FF2B5EF4-FFF2-40B4-BE49-F238E27FC236}">
                  <a16:creationId xmlns:a16="http://schemas.microsoft.com/office/drawing/2014/main" id="{F17E9AEF-B661-8E2C-C222-883DEEADD413}"/>
                </a:ext>
              </a:extLst>
            </p:cNvPr>
            <p:cNvSpPr/>
            <p:nvPr/>
          </p:nvSpPr>
          <p:spPr>
            <a:xfrm>
              <a:off x="5288510" y="2812709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7" name="Kombinationstegning: figur 56">
              <a:extLst>
                <a:ext uri="{FF2B5EF4-FFF2-40B4-BE49-F238E27FC236}">
                  <a16:creationId xmlns:a16="http://schemas.microsoft.com/office/drawing/2014/main" id="{3CCD1BAF-8F4B-4601-BDAE-95AF88B2E034}"/>
                </a:ext>
              </a:extLst>
            </p:cNvPr>
            <p:cNvSpPr/>
            <p:nvPr/>
          </p:nvSpPr>
          <p:spPr>
            <a:xfrm>
              <a:off x="5089084" y="294345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</p:grpSp>
      <p:sp>
        <p:nvSpPr>
          <p:cNvPr id="59" name="Rektangel: afrundede hjørner 58">
            <a:extLst>
              <a:ext uri="{FF2B5EF4-FFF2-40B4-BE49-F238E27FC236}">
                <a16:creationId xmlns:a16="http://schemas.microsoft.com/office/drawing/2014/main" id="{50C0398A-C47D-8FD7-7032-6A581F013A69}"/>
              </a:ext>
            </a:extLst>
          </p:cNvPr>
          <p:cNvSpPr/>
          <p:nvPr/>
        </p:nvSpPr>
        <p:spPr>
          <a:xfrm>
            <a:off x="9294708" y="583522"/>
            <a:ext cx="987878" cy="326932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algn="ctr"/>
            <a:r>
              <a:rPr lang="da-DK" sz="1200" dirty="0"/>
              <a:t>Data</a:t>
            </a:r>
            <a:endParaRPr lang="da-DK" dirty="0"/>
          </a:p>
        </p:txBody>
      </p:sp>
      <p:cxnSp>
        <p:nvCxnSpPr>
          <p:cNvPr id="61" name="Lige pilforbindelse 60">
            <a:extLst>
              <a:ext uri="{FF2B5EF4-FFF2-40B4-BE49-F238E27FC236}">
                <a16:creationId xmlns:a16="http://schemas.microsoft.com/office/drawing/2014/main" id="{C475EDC0-7D53-CEA3-A065-441D450B649E}"/>
              </a:ext>
            </a:extLst>
          </p:cNvPr>
          <p:cNvCxnSpPr>
            <a:cxnSpLocks/>
          </p:cNvCxnSpPr>
          <p:nvPr/>
        </p:nvCxnSpPr>
        <p:spPr>
          <a:xfrm flipH="1">
            <a:off x="8974362" y="97155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Lige pilforbindelse 1030">
            <a:extLst>
              <a:ext uri="{FF2B5EF4-FFF2-40B4-BE49-F238E27FC236}">
                <a16:creationId xmlns:a16="http://schemas.microsoft.com/office/drawing/2014/main" id="{4C3A17C5-F0C4-A67F-5AB3-02810827A66D}"/>
              </a:ext>
            </a:extLst>
          </p:cNvPr>
          <p:cNvCxnSpPr>
            <a:cxnSpLocks/>
          </p:cNvCxnSpPr>
          <p:nvPr/>
        </p:nvCxnSpPr>
        <p:spPr>
          <a:xfrm>
            <a:off x="10286087" y="97155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2" name="Lige pilforbindelse 1031">
            <a:extLst>
              <a:ext uri="{FF2B5EF4-FFF2-40B4-BE49-F238E27FC236}">
                <a16:creationId xmlns:a16="http://schemas.microsoft.com/office/drawing/2014/main" id="{EADFF351-E456-1C71-6D5C-E658A063858A}"/>
              </a:ext>
            </a:extLst>
          </p:cNvPr>
          <p:cNvCxnSpPr>
            <a:cxnSpLocks/>
          </p:cNvCxnSpPr>
          <p:nvPr/>
        </p:nvCxnSpPr>
        <p:spPr>
          <a:xfrm>
            <a:off x="8971640" y="509996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Lige pilforbindelse 1032">
            <a:extLst>
              <a:ext uri="{FF2B5EF4-FFF2-40B4-BE49-F238E27FC236}">
                <a16:creationId xmlns:a16="http://schemas.microsoft.com/office/drawing/2014/main" id="{BCB52A13-6A94-C29B-72AA-F6ACE2A0237F}"/>
              </a:ext>
            </a:extLst>
          </p:cNvPr>
          <p:cNvCxnSpPr>
            <a:cxnSpLocks/>
          </p:cNvCxnSpPr>
          <p:nvPr/>
        </p:nvCxnSpPr>
        <p:spPr>
          <a:xfrm flipH="1">
            <a:off x="10283365" y="509996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4" name="Rektangel: afrundede hjørner 1033">
            <a:extLst>
              <a:ext uri="{FF2B5EF4-FFF2-40B4-BE49-F238E27FC236}">
                <a16:creationId xmlns:a16="http://schemas.microsoft.com/office/drawing/2014/main" id="{DC4B78E7-1C8F-7CBF-253B-4071E1E3DAB3}"/>
              </a:ext>
            </a:extLst>
          </p:cNvPr>
          <p:cNvSpPr/>
          <p:nvPr/>
        </p:nvSpPr>
        <p:spPr>
          <a:xfrm>
            <a:off x="9156979" y="5557679"/>
            <a:ext cx="1263336" cy="326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algn="ctr"/>
            <a:r>
              <a:rPr lang="da-DK" sz="1200" dirty="0">
                <a:solidFill>
                  <a:schemeClr val="tx1"/>
                </a:solidFill>
              </a:rPr>
              <a:t>Prædiktion</a:t>
            </a:r>
            <a:endParaRPr lang="da-DK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747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4" y="1088631"/>
            <a:ext cx="5535650" cy="50772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sz="1600" b="1" dirty="0" err="1"/>
              <a:t>EXTremely</a:t>
            </a:r>
            <a:r>
              <a:rPr lang="da-DK" sz="1600" b="1" dirty="0"/>
              <a:t> </a:t>
            </a:r>
            <a:r>
              <a:rPr lang="da-DK" sz="1600" b="1" dirty="0" err="1"/>
              <a:t>RAndomized</a:t>
            </a:r>
            <a:r>
              <a:rPr lang="da-DK" sz="1600" b="1" dirty="0"/>
              <a:t> Trees</a:t>
            </a:r>
          </a:p>
          <a:p>
            <a:pPr lvl="1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En videreudvikling af </a:t>
            </a:r>
            <a:r>
              <a:rPr lang="da-DK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Random</a:t>
            </a: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Forest-metoden. Den centrale forskel, er måden, hvorpå opdelingerne i træerne vælges.</a:t>
            </a:r>
          </a:p>
          <a:p>
            <a:pPr lvl="1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Extra Trees introducerer yderligere tilfældighed ved selve opdelings-beslutningerne.</a:t>
            </a:r>
          </a:p>
          <a:p>
            <a:pPr lvl="2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Fordi opdelingspunkterne vælges tilfældigt, kræver Extra Trees mindre tid til at træne sammenlignet med </a:t>
            </a:r>
            <a:r>
              <a:rPr lang="da-DK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Random</a:t>
            </a: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Forest, da den ikke søger efter det optimale split-punkt for hver feature.</a:t>
            </a:r>
          </a:p>
          <a:p>
            <a:pPr lvl="1">
              <a:lnSpc>
                <a:spcPct val="100000"/>
              </a:lnSpc>
            </a:pPr>
            <a:endParaRPr lang="da-DK" sz="1600" dirty="0"/>
          </a:p>
          <a:p>
            <a:pPr marL="0" indent="0">
              <a:lnSpc>
                <a:spcPct val="100000"/>
              </a:lnSpc>
              <a:buNone/>
            </a:pPr>
            <a:endParaRPr lang="da-DK" dirty="0"/>
          </a:p>
        </p:txBody>
      </p:sp>
      <p:grpSp>
        <p:nvGrpSpPr>
          <p:cNvPr id="7" name="Gruppe 6">
            <a:extLst>
              <a:ext uri="{FF2B5EF4-FFF2-40B4-BE49-F238E27FC236}">
                <a16:creationId xmlns:a16="http://schemas.microsoft.com/office/drawing/2014/main" id="{C904598B-EC22-26E1-9F66-CAF863E3524E}"/>
              </a:ext>
            </a:extLst>
          </p:cNvPr>
          <p:cNvGrpSpPr/>
          <p:nvPr/>
        </p:nvGrpSpPr>
        <p:grpSpPr>
          <a:xfrm>
            <a:off x="9772845" y="1406737"/>
            <a:ext cx="2084193" cy="2157753"/>
            <a:chOff x="5868059" y="1568668"/>
            <a:chExt cx="2084193" cy="2157753"/>
          </a:xfrm>
        </p:grpSpPr>
        <p:sp>
          <p:nvSpPr>
            <p:cNvPr id="8" name="Kombinationstegning: figur 7">
              <a:extLst>
                <a:ext uri="{FF2B5EF4-FFF2-40B4-BE49-F238E27FC236}">
                  <a16:creationId xmlns:a16="http://schemas.microsoft.com/office/drawing/2014/main" id="{0576E1AC-95E7-92B3-F696-3D2A14753903}"/>
                </a:ext>
              </a:extLst>
            </p:cNvPr>
            <p:cNvSpPr/>
            <p:nvPr/>
          </p:nvSpPr>
          <p:spPr>
            <a:xfrm>
              <a:off x="6824336" y="156866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9" name="Kombinationstegning: figur 8">
              <a:extLst>
                <a:ext uri="{FF2B5EF4-FFF2-40B4-BE49-F238E27FC236}">
                  <a16:creationId xmlns:a16="http://schemas.microsoft.com/office/drawing/2014/main" id="{E9BD0B23-178C-AC98-727C-20DC54AD968D}"/>
                </a:ext>
              </a:extLst>
            </p:cNvPr>
            <p:cNvSpPr/>
            <p:nvPr/>
          </p:nvSpPr>
          <p:spPr>
            <a:xfrm>
              <a:off x="6432017" y="1895600"/>
              <a:ext cx="637518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637518" y="0"/>
                  </a:moveTo>
                  <a:lnTo>
                    <a:pt x="637518" y="65386"/>
                  </a:lnTo>
                  <a:lnTo>
                    <a:pt x="0" y="65386"/>
                  </a:lnTo>
                  <a:lnTo>
                    <a:pt x="0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1" name="Kombinationstegning: figur 10">
              <a:extLst>
                <a:ext uri="{FF2B5EF4-FFF2-40B4-BE49-F238E27FC236}">
                  <a16:creationId xmlns:a16="http://schemas.microsoft.com/office/drawing/2014/main" id="{84A9990C-48CA-840C-0260-0A9D285216B7}"/>
                </a:ext>
              </a:extLst>
            </p:cNvPr>
            <p:cNvSpPr/>
            <p:nvPr/>
          </p:nvSpPr>
          <p:spPr>
            <a:xfrm>
              <a:off x="6186818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2" name="Kombinationstegning: figur 11">
              <a:extLst>
                <a:ext uri="{FF2B5EF4-FFF2-40B4-BE49-F238E27FC236}">
                  <a16:creationId xmlns:a16="http://schemas.microsoft.com/office/drawing/2014/main" id="{9C901F3E-996B-8A6C-0C3C-D883A460B803}"/>
                </a:ext>
              </a:extLst>
            </p:cNvPr>
            <p:cNvSpPr/>
            <p:nvPr/>
          </p:nvSpPr>
          <p:spPr>
            <a:xfrm>
              <a:off x="6113258" y="2353305"/>
              <a:ext cx="318759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318759" y="0"/>
                  </a:moveTo>
                  <a:lnTo>
                    <a:pt x="318759" y="65386"/>
                  </a:lnTo>
                  <a:lnTo>
                    <a:pt x="0" y="65386"/>
                  </a:lnTo>
                  <a:lnTo>
                    <a:pt x="0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3" name="Kombinationstegning: figur 12">
              <a:extLst>
                <a:ext uri="{FF2B5EF4-FFF2-40B4-BE49-F238E27FC236}">
                  <a16:creationId xmlns:a16="http://schemas.microsoft.com/office/drawing/2014/main" id="{C1647C01-3CA8-28A2-7121-B639EC7593BD}"/>
                </a:ext>
              </a:extLst>
            </p:cNvPr>
            <p:cNvSpPr/>
            <p:nvPr/>
          </p:nvSpPr>
          <p:spPr>
            <a:xfrm>
              <a:off x="5868059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4" name="Kombinationstegning: figur 13">
              <a:extLst>
                <a:ext uri="{FF2B5EF4-FFF2-40B4-BE49-F238E27FC236}">
                  <a16:creationId xmlns:a16="http://schemas.microsoft.com/office/drawing/2014/main" id="{AA1D4499-D718-B10E-D57E-44B35F36A7F3}"/>
                </a:ext>
              </a:extLst>
            </p:cNvPr>
            <p:cNvSpPr/>
            <p:nvPr/>
          </p:nvSpPr>
          <p:spPr>
            <a:xfrm>
              <a:off x="6432017" y="2353305"/>
              <a:ext cx="318759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86"/>
                  </a:lnTo>
                  <a:lnTo>
                    <a:pt x="318759" y="65386"/>
                  </a:lnTo>
                  <a:lnTo>
                    <a:pt x="318759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5" name="Kombinationstegning: figur 14">
              <a:extLst>
                <a:ext uri="{FF2B5EF4-FFF2-40B4-BE49-F238E27FC236}">
                  <a16:creationId xmlns:a16="http://schemas.microsoft.com/office/drawing/2014/main" id="{D726165E-F080-3B74-B1EC-76DDAC068256}"/>
                </a:ext>
              </a:extLst>
            </p:cNvPr>
            <p:cNvSpPr/>
            <p:nvPr/>
          </p:nvSpPr>
          <p:spPr>
            <a:xfrm>
              <a:off x="6505577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16" name="Kombinationstegning: figur 15">
              <a:extLst>
                <a:ext uri="{FF2B5EF4-FFF2-40B4-BE49-F238E27FC236}">
                  <a16:creationId xmlns:a16="http://schemas.microsoft.com/office/drawing/2014/main" id="{1A02FAFD-7DFA-6351-D48C-6D8DC39842BC}"/>
                </a:ext>
              </a:extLst>
            </p:cNvPr>
            <p:cNvSpPr/>
            <p:nvPr/>
          </p:nvSpPr>
          <p:spPr>
            <a:xfrm>
              <a:off x="7023816" y="1895600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7" name="Kombinationstegning: figur 16">
              <a:extLst>
                <a:ext uri="{FF2B5EF4-FFF2-40B4-BE49-F238E27FC236}">
                  <a16:creationId xmlns:a16="http://schemas.microsoft.com/office/drawing/2014/main" id="{57A9FA3E-EB71-84CF-F047-33077DAF0CF4}"/>
                </a:ext>
              </a:extLst>
            </p:cNvPr>
            <p:cNvSpPr/>
            <p:nvPr/>
          </p:nvSpPr>
          <p:spPr>
            <a:xfrm>
              <a:off x="6824336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18" name="Kombinationstegning: figur 17">
              <a:extLst>
                <a:ext uri="{FF2B5EF4-FFF2-40B4-BE49-F238E27FC236}">
                  <a16:creationId xmlns:a16="http://schemas.microsoft.com/office/drawing/2014/main" id="{EA17F798-0E3B-9564-DB92-C0FB3F01619F}"/>
                </a:ext>
              </a:extLst>
            </p:cNvPr>
            <p:cNvSpPr/>
            <p:nvPr/>
          </p:nvSpPr>
          <p:spPr>
            <a:xfrm>
              <a:off x="7069536" y="1895600"/>
              <a:ext cx="637518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86"/>
                  </a:lnTo>
                  <a:lnTo>
                    <a:pt x="637518" y="65386"/>
                  </a:lnTo>
                  <a:lnTo>
                    <a:pt x="637518" y="130772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19" name="Kombinationstegning: figur 18">
              <a:extLst>
                <a:ext uri="{FF2B5EF4-FFF2-40B4-BE49-F238E27FC236}">
                  <a16:creationId xmlns:a16="http://schemas.microsoft.com/office/drawing/2014/main" id="{1EB3E8AB-F1C3-7F76-05B7-0A8111C08DDE}"/>
                </a:ext>
              </a:extLst>
            </p:cNvPr>
            <p:cNvSpPr/>
            <p:nvPr/>
          </p:nvSpPr>
          <p:spPr>
            <a:xfrm>
              <a:off x="7461854" y="2026373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0" name="Kombinationstegning: figur 19">
              <a:extLst>
                <a:ext uri="{FF2B5EF4-FFF2-40B4-BE49-F238E27FC236}">
                  <a16:creationId xmlns:a16="http://schemas.microsoft.com/office/drawing/2014/main" id="{9217CF16-B68D-1D79-6DD2-D3418D7B91E7}"/>
                </a:ext>
              </a:extLst>
            </p:cNvPr>
            <p:cNvSpPr/>
            <p:nvPr/>
          </p:nvSpPr>
          <p:spPr>
            <a:xfrm>
              <a:off x="7661334" y="2353305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1" name="Kombinationstegning: figur 20">
              <a:extLst>
                <a:ext uri="{FF2B5EF4-FFF2-40B4-BE49-F238E27FC236}">
                  <a16:creationId xmlns:a16="http://schemas.microsoft.com/office/drawing/2014/main" id="{5E062866-C361-671C-DE77-A2553C7BE5C7}"/>
                </a:ext>
              </a:extLst>
            </p:cNvPr>
            <p:cNvSpPr/>
            <p:nvPr/>
          </p:nvSpPr>
          <p:spPr>
            <a:xfrm>
              <a:off x="7461854" y="2484078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2" name="Kombinationstegning: figur 21">
              <a:extLst>
                <a:ext uri="{FF2B5EF4-FFF2-40B4-BE49-F238E27FC236}">
                  <a16:creationId xmlns:a16="http://schemas.microsoft.com/office/drawing/2014/main" id="{23C4ACD4-A439-316F-58DC-2B6B63F9CA1D}"/>
                </a:ext>
              </a:extLst>
            </p:cNvPr>
            <p:cNvSpPr/>
            <p:nvPr/>
          </p:nvSpPr>
          <p:spPr>
            <a:xfrm>
              <a:off x="7661334" y="2811011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3" name="Kombinationstegning: figur 22">
              <a:extLst>
                <a:ext uri="{FF2B5EF4-FFF2-40B4-BE49-F238E27FC236}">
                  <a16:creationId xmlns:a16="http://schemas.microsoft.com/office/drawing/2014/main" id="{08360487-A980-E11A-6855-FD0D8C23BDF2}"/>
                </a:ext>
              </a:extLst>
            </p:cNvPr>
            <p:cNvSpPr/>
            <p:nvPr/>
          </p:nvSpPr>
          <p:spPr>
            <a:xfrm>
              <a:off x="7461854" y="2941784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24" name="Kombinationstegning: figur 23">
              <a:extLst>
                <a:ext uri="{FF2B5EF4-FFF2-40B4-BE49-F238E27FC236}">
                  <a16:creationId xmlns:a16="http://schemas.microsoft.com/office/drawing/2014/main" id="{ACE36EC8-894E-3037-22BD-EA8F6CCB3012}"/>
                </a:ext>
              </a:extLst>
            </p:cNvPr>
            <p:cNvSpPr/>
            <p:nvPr/>
          </p:nvSpPr>
          <p:spPr>
            <a:xfrm>
              <a:off x="7661334" y="3268716"/>
              <a:ext cx="91440" cy="13077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72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5" name="Kombinationstegning: figur 24">
              <a:extLst>
                <a:ext uri="{FF2B5EF4-FFF2-40B4-BE49-F238E27FC236}">
                  <a16:creationId xmlns:a16="http://schemas.microsoft.com/office/drawing/2014/main" id="{94DB9C94-E29D-55B7-A048-8E5817E20C58}"/>
                </a:ext>
              </a:extLst>
            </p:cNvPr>
            <p:cNvSpPr/>
            <p:nvPr/>
          </p:nvSpPr>
          <p:spPr>
            <a:xfrm>
              <a:off x="7461854" y="3399489"/>
              <a:ext cx="490398" cy="326932"/>
            </a:xfrm>
            <a:custGeom>
              <a:avLst/>
              <a:gdLst>
                <a:gd name="connsiteX0" fmla="*/ 0 w 490398"/>
                <a:gd name="connsiteY0" fmla="*/ 32693 h 326932"/>
                <a:gd name="connsiteX1" fmla="*/ 32693 w 490398"/>
                <a:gd name="connsiteY1" fmla="*/ 0 h 326932"/>
                <a:gd name="connsiteX2" fmla="*/ 457705 w 490398"/>
                <a:gd name="connsiteY2" fmla="*/ 0 h 326932"/>
                <a:gd name="connsiteX3" fmla="*/ 490398 w 490398"/>
                <a:gd name="connsiteY3" fmla="*/ 32693 h 326932"/>
                <a:gd name="connsiteX4" fmla="*/ 490398 w 490398"/>
                <a:gd name="connsiteY4" fmla="*/ 294239 h 326932"/>
                <a:gd name="connsiteX5" fmla="*/ 457705 w 490398"/>
                <a:gd name="connsiteY5" fmla="*/ 326932 h 326932"/>
                <a:gd name="connsiteX6" fmla="*/ 32693 w 490398"/>
                <a:gd name="connsiteY6" fmla="*/ 326932 h 326932"/>
                <a:gd name="connsiteX7" fmla="*/ 0 w 490398"/>
                <a:gd name="connsiteY7" fmla="*/ 294239 h 326932"/>
                <a:gd name="connsiteX8" fmla="*/ 0 w 490398"/>
                <a:gd name="connsiteY8" fmla="*/ 32693 h 3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398" h="326932">
                  <a:moveTo>
                    <a:pt x="0" y="32693"/>
                  </a:moveTo>
                  <a:cubicBezTo>
                    <a:pt x="0" y="14637"/>
                    <a:pt x="14637" y="0"/>
                    <a:pt x="32693" y="0"/>
                  </a:cubicBezTo>
                  <a:lnTo>
                    <a:pt x="457705" y="0"/>
                  </a:lnTo>
                  <a:cubicBezTo>
                    <a:pt x="475761" y="0"/>
                    <a:pt x="490398" y="14637"/>
                    <a:pt x="490398" y="32693"/>
                  </a:cubicBezTo>
                  <a:lnTo>
                    <a:pt x="490398" y="294239"/>
                  </a:lnTo>
                  <a:cubicBezTo>
                    <a:pt x="490398" y="312295"/>
                    <a:pt x="475761" y="326932"/>
                    <a:pt x="457705" y="326932"/>
                  </a:cubicBezTo>
                  <a:lnTo>
                    <a:pt x="32693" y="326932"/>
                  </a:lnTo>
                  <a:cubicBezTo>
                    <a:pt x="14637" y="326932"/>
                    <a:pt x="0" y="312295"/>
                    <a:pt x="0" y="294239"/>
                  </a:cubicBezTo>
                  <a:lnTo>
                    <a:pt x="0" y="326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6" tIns="62916" rIns="62916" bIns="62916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C5271702-E4C9-108A-1920-A0FD05FA156E}"/>
              </a:ext>
            </a:extLst>
          </p:cNvPr>
          <p:cNvGrpSpPr/>
          <p:nvPr/>
        </p:nvGrpSpPr>
        <p:grpSpPr>
          <a:xfrm>
            <a:off x="7295109" y="1407118"/>
            <a:ext cx="2243089" cy="3530106"/>
            <a:chOff x="3336287" y="1570634"/>
            <a:chExt cx="2243089" cy="3530106"/>
          </a:xfrm>
        </p:grpSpPr>
        <p:sp>
          <p:nvSpPr>
            <p:cNvPr id="27" name="Kombinationstegning: figur 26">
              <a:extLst>
                <a:ext uri="{FF2B5EF4-FFF2-40B4-BE49-F238E27FC236}">
                  <a16:creationId xmlns:a16="http://schemas.microsoft.com/office/drawing/2014/main" id="{26E3C25E-716D-8D1F-1D1D-A2E2149D7A77}"/>
                </a:ext>
              </a:extLst>
            </p:cNvPr>
            <p:cNvSpPr/>
            <p:nvPr/>
          </p:nvSpPr>
          <p:spPr>
            <a:xfrm>
              <a:off x="4451703" y="1570634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28" name="Kombinationstegning: figur 27">
              <a:extLst>
                <a:ext uri="{FF2B5EF4-FFF2-40B4-BE49-F238E27FC236}">
                  <a16:creationId xmlns:a16="http://schemas.microsoft.com/office/drawing/2014/main" id="{5206E16E-D6D0-CD81-EEFE-314E8A06EF4B}"/>
                </a:ext>
              </a:extLst>
            </p:cNvPr>
            <p:cNvSpPr/>
            <p:nvPr/>
          </p:nvSpPr>
          <p:spPr>
            <a:xfrm>
              <a:off x="4059469" y="1897496"/>
              <a:ext cx="63738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637380" y="0"/>
                  </a:moveTo>
                  <a:lnTo>
                    <a:pt x="637380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29" name="Kombinationstegning: figur 28">
              <a:extLst>
                <a:ext uri="{FF2B5EF4-FFF2-40B4-BE49-F238E27FC236}">
                  <a16:creationId xmlns:a16="http://schemas.microsoft.com/office/drawing/2014/main" id="{89FE57C3-7A95-EA6B-312C-027758A8EA1A}"/>
                </a:ext>
              </a:extLst>
            </p:cNvPr>
            <p:cNvSpPr/>
            <p:nvPr/>
          </p:nvSpPr>
          <p:spPr>
            <a:xfrm>
              <a:off x="3814323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0" name="Kombinationstegning: figur 29">
              <a:extLst>
                <a:ext uri="{FF2B5EF4-FFF2-40B4-BE49-F238E27FC236}">
                  <a16:creationId xmlns:a16="http://schemas.microsoft.com/office/drawing/2014/main" id="{F37D206A-1D86-FFAA-CB4A-205360271EDF}"/>
                </a:ext>
              </a:extLst>
            </p:cNvPr>
            <p:cNvSpPr/>
            <p:nvPr/>
          </p:nvSpPr>
          <p:spPr>
            <a:xfrm>
              <a:off x="4013749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1" name="Kombinationstegning: figur 30">
              <a:extLst>
                <a:ext uri="{FF2B5EF4-FFF2-40B4-BE49-F238E27FC236}">
                  <a16:creationId xmlns:a16="http://schemas.microsoft.com/office/drawing/2014/main" id="{077FD3EA-C63E-9D06-5019-AEB1B9D87BE4}"/>
                </a:ext>
              </a:extLst>
            </p:cNvPr>
            <p:cNvSpPr/>
            <p:nvPr/>
          </p:nvSpPr>
          <p:spPr>
            <a:xfrm>
              <a:off x="3814323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2" name="Kombinationstegning: figur 31">
              <a:extLst>
                <a:ext uri="{FF2B5EF4-FFF2-40B4-BE49-F238E27FC236}">
                  <a16:creationId xmlns:a16="http://schemas.microsoft.com/office/drawing/2014/main" id="{F15D48E2-5DAA-94F7-994B-39A7D0BEE898}"/>
                </a:ext>
              </a:extLst>
            </p:cNvPr>
            <p:cNvSpPr/>
            <p:nvPr/>
          </p:nvSpPr>
          <p:spPr>
            <a:xfrm>
              <a:off x="4013749" y="2812709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3" name="Kombinationstegning: figur 32">
              <a:extLst>
                <a:ext uri="{FF2B5EF4-FFF2-40B4-BE49-F238E27FC236}">
                  <a16:creationId xmlns:a16="http://schemas.microsoft.com/office/drawing/2014/main" id="{D66BB891-D043-9FC2-B718-BAAB4D19B95F}"/>
                </a:ext>
              </a:extLst>
            </p:cNvPr>
            <p:cNvSpPr/>
            <p:nvPr/>
          </p:nvSpPr>
          <p:spPr>
            <a:xfrm>
              <a:off x="3814323" y="294345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34" name="Kombinationstegning: figur 33">
              <a:extLst>
                <a:ext uri="{FF2B5EF4-FFF2-40B4-BE49-F238E27FC236}">
                  <a16:creationId xmlns:a16="http://schemas.microsoft.com/office/drawing/2014/main" id="{9F40452B-AEFD-8173-7F25-3857F91FC01B}"/>
                </a:ext>
              </a:extLst>
            </p:cNvPr>
            <p:cNvSpPr/>
            <p:nvPr/>
          </p:nvSpPr>
          <p:spPr>
            <a:xfrm>
              <a:off x="3581434" y="3270315"/>
              <a:ext cx="478035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78035" y="0"/>
                  </a:moveTo>
                  <a:lnTo>
                    <a:pt x="478035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5" name="Kombinationstegning: figur 34">
              <a:extLst>
                <a:ext uri="{FF2B5EF4-FFF2-40B4-BE49-F238E27FC236}">
                  <a16:creationId xmlns:a16="http://schemas.microsoft.com/office/drawing/2014/main" id="{22C214EA-DF2F-3240-6097-CF1850AFC665}"/>
                </a:ext>
              </a:extLst>
            </p:cNvPr>
            <p:cNvSpPr/>
            <p:nvPr/>
          </p:nvSpPr>
          <p:spPr>
            <a:xfrm>
              <a:off x="3336287" y="340106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36" name="Kombinationstegning: figur 35">
              <a:extLst>
                <a:ext uri="{FF2B5EF4-FFF2-40B4-BE49-F238E27FC236}">
                  <a16:creationId xmlns:a16="http://schemas.microsoft.com/office/drawing/2014/main" id="{A60F26C6-1F2B-803D-0EE6-F6EC5FFC79FD}"/>
                </a:ext>
              </a:extLst>
            </p:cNvPr>
            <p:cNvSpPr/>
            <p:nvPr/>
          </p:nvSpPr>
          <p:spPr>
            <a:xfrm>
              <a:off x="3535714" y="372792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7" name="Kombinationstegning: figur 36">
              <a:extLst>
                <a:ext uri="{FF2B5EF4-FFF2-40B4-BE49-F238E27FC236}">
                  <a16:creationId xmlns:a16="http://schemas.microsoft.com/office/drawing/2014/main" id="{039E6CD4-8072-32E3-138F-685ADED1ADC0}"/>
                </a:ext>
              </a:extLst>
            </p:cNvPr>
            <p:cNvSpPr/>
            <p:nvPr/>
          </p:nvSpPr>
          <p:spPr>
            <a:xfrm>
              <a:off x="3336287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38" name="Kombinationstegning: figur 37">
              <a:extLst>
                <a:ext uri="{FF2B5EF4-FFF2-40B4-BE49-F238E27FC236}">
                  <a16:creationId xmlns:a16="http://schemas.microsoft.com/office/drawing/2014/main" id="{11298FD7-C9CE-02D0-D595-4A757FD8E75A}"/>
                </a:ext>
              </a:extLst>
            </p:cNvPr>
            <p:cNvSpPr/>
            <p:nvPr/>
          </p:nvSpPr>
          <p:spPr>
            <a:xfrm>
              <a:off x="4059469" y="3270315"/>
              <a:ext cx="478035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478035" y="65372"/>
                  </a:lnTo>
                  <a:lnTo>
                    <a:pt x="478035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39" name="Kombinationstegning: figur 38">
              <a:extLst>
                <a:ext uri="{FF2B5EF4-FFF2-40B4-BE49-F238E27FC236}">
                  <a16:creationId xmlns:a16="http://schemas.microsoft.com/office/drawing/2014/main" id="{DDD66691-20D5-208B-D44C-1B8D4AD29CC8}"/>
                </a:ext>
              </a:extLst>
            </p:cNvPr>
            <p:cNvSpPr/>
            <p:nvPr/>
          </p:nvSpPr>
          <p:spPr>
            <a:xfrm>
              <a:off x="4292358" y="340106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0" name="Kombinationstegning: figur 39">
              <a:extLst>
                <a:ext uri="{FF2B5EF4-FFF2-40B4-BE49-F238E27FC236}">
                  <a16:creationId xmlns:a16="http://schemas.microsoft.com/office/drawing/2014/main" id="{8977EE18-E866-055F-584C-BE1FFACDB2C0}"/>
                </a:ext>
              </a:extLst>
            </p:cNvPr>
            <p:cNvSpPr/>
            <p:nvPr/>
          </p:nvSpPr>
          <p:spPr>
            <a:xfrm>
              <a:off x="4218814" y="3727922"/>
              <a:ext cx="31869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318690" y="0"/>
                  </a:moveTo>
                  <a:lnTo>
                    <a:pt x="318690" y="65372"/>
                  </a:lnTo>
                  <a:lnTo>
                    <a:pt x="0" y="65372"/>
                  </a:lnTo>
                  <a:lnTo>
                    <a:pt x="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1" name="Kombinationstegning: figur 40">
              <a:extLst>
                <a:ext uri="{FF2B5EF4-FFF2-40B4-BE49-F238E27FC236}">
                  <a16:creationId xmlns:a16="http://schemas.microsoft.com/office/drawing/2014/main" id="{A0CE5E68-69E6-D60D-91E5-366BE5B5822D}"/>
                </a:ext>
              </a:extLst>
            </p:cNvPr>
            <p:cNvSpPr/>
            <p:nvPr/>
          </p:nvSpPr>
          <p:spPr>
            <a:xfrm>
              <a:off x="3973668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2" name="Kombinationstegning: figur 41">
              <a:extLst>
                <a:ext uri="{FF2B5EF4-FFF2-40B4-BE49-F238E27FC236}">
                  <a16:creationId xmlns:a16="http://schemas.microsoft.com/office/drawing/2014/main" id="{0EBAFA16-5428-06D2-1750-C64761990E5A}"/>
                </a:ext>
              </a:extLst>
            </p:cNvPr>
            <p:cNvSpPr/>
            <p:nvPr/>
          </p:nvSpPr>
          <p:spPr>
            <a:xfrm>
              <a:off x="4537505" y="3727922"/>
              <a:ext cx="31869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318690" y="65372"/>
                  </a:lnTo>
                  <a:lnTo>
                    <a:pt x="31869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3" name="Kombinationstegning: figur 42">
              <a:extLst>
                <a:ext uri="{FF2B5EF4-FFF2-40B4-BE49-F238E27FC236}">
                  <a16:creationId xmlns:a16="http://schemas.microsoft.com/office/drawing/2014/main" id="{E097D745-6D89-39BB-C07D-F001692468CF}"/>
                </a:ext>
              </a:extLst>
            </p:cNvPr>
            <p:cNvSpPr/>
            <p:nvPr/>
          </p:nvSpPr>
          <p:spPr>
            <a:xfrm>
              <a:off x="4611048" y="3858666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4" name="Kombinationstegning: figur 43">
              <a:extLst>
                <a:ext uri="{FF2B5EF4-FFF2-40B4-BE49-F238E27FC236}">
                  <a16:creationId xmlns:a16="http://schemas.microsoft.com/office/drawing/2014/main" id="{8DF52694-4A69-A0F0-E1C7-E241503842B5}"/>
                </a:ext>
              </a:extLst>
            </p:cNvPr>
            <p:cNvSpPr/>
            <p:nvPr/>
          </p:nvSpPr>
          <p:spPr>
            <a:xfrm>
              <a:off x="4810475" y="4185528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5" name="Kombinationstegning: figur 44">
              <a:extLst>
                <a:ext uri="{FF2B5EF4-FFF2-40B4-BE49-F238E27FC236}">
                  <a16:creationId xmlns:a16="http://schemas.microsoft.com/office/drawing/2014/main" id="{ED274FC7-532B-B80A-8AD6-D6B28F4CBC6C}"/>
                </a:ext>
              </a:extLst>
            </p:cNvPr>
            <p:cNvSpPr/>
            <p:nvPr/>
          </p:nvSpPr>
          <p:spPr>
            <a:xfrm>
              <a:off x="4611048" y="431627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6" name="Kombinationstegning: figur 45">
              <a:extLst>
                <a:ext uri="{FF2B5EF4-FFF2-40B4-BE49-F238E27FC236}">
                  <a16:creationId xmlns:a16="http://schemas.microsoft.com/office/drawing/2014/main" id="{2C357048-C200-101C-02B5-CF370691EEB2}"/>
                </a:ext>
              </a:extLst>
            </p:cNvPr>
            <p:cNvSpPr/>
            <p:nvPr/>
          </p:nvSpPr>
          <p:spPr>
            <a:xfrm>
              <a:off x="4810475" y="4643135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7" name="Kombinationstegning: figur 46">
              <a:extLst>
                <a:ext uri="{FF2B5EF4-FFF2-40B4-BE49-F238E27FC236}">
                  <a16:creationId xmlns:a16="http://schemas.microsoft.com/office/drawing/2014/main" id="{89D91166-086B-1DE0-191D-A0CA779161A9}"/>
                </a:ext>
              </a:extLst>
            </p:cNvPr>
            <p:cNvSpPr/>
            <p:nvPr/>
          </p:nvSpPr>
          <p:spPr>
            <a:xfrm>
              <a:off x="4611048" y="4773879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48" name="Kombinationstegning: figur 47">
              <a:extLst>
                <a:ext uri="{FF2B5EF4-FFF2-40B4-BE49-F238E27FC236}">
                  <a16:creationId xmlns:a16="http://schemas.microsoft.com/office/drawing/2014/main" id="{E93A5604-64C2-FF78-3A5A-43B8B4ABDD8F}"/>
                </a:ext>
              </a:extLst>
            </p:cNvPr>
            <p:cNvSpPr/>
            <p:nvPr/>
          </p:nvSpPr>
          <p:spPr>
            <a:xfrm>
              <a:off x="4651130" y="1897496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49" name="Kombinationstegning: figur 48">
              <a:extLst>
                <a:ext uri="{FF2B5EF4-FFF2-40B4-BE49-F238E27FC236}">
                  <a16:creationId xmlns:a16="http://schemas.microsoft.com/office/drawing/2014/main" id="{40999C9A-3958-55A8-AD86-41E45F1FBBD7}"/>
                </a:ext>
              </a:extLst>
            </p:cNvPr>
            <p:cNvSpPr/>
            <p:nvPr/>
          </p:nvSpPr>
          <p:spPr>
            <a:xfrm>
              <a:off x="4451703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400" kern="1200" dirty="0"/>
                <a:t> </a:t>
              </a:r>
            </a:p>
          </p:txBody>
        </p:sp>
        <p:sp>
          <p:nvSpPr>
            <p:cNvPr id="50" name="Kombinationstegning: figur 49">
              <a:extLst>
                <a:ext uri="{FF2B5EF4-FFF2-40B4-BE49-F238E27FC236}">
                  <a16:creationId xmlns:a16="http://schemas.microsoft.com/office/drawing/2014/main" id="{13C90784-4193-05F7-23E0-176BB1673B27}"/>
                </a:ext>
              </a:extLst>
            </p:cNvPr>
            <p:cNvSpPr/>
            <p:nvPr/>
          </p:nvSpPr>
          <p:spPr>
            <a:xfrm>
              <a:off x="4651130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1" name="Kombinationstegning: figur 50">
              <a:extLst>
                <a:ext uri="{FF2B5EF4-FFF2-40B4-BE49-F238E27FC236}">
                  <a16:creationId xmlns:a16="http://schemas.microsoft.com/office/drawing/2014/main" id="{613A9C6C-AEFC-1182-C77B-549E7E66E1BE}"/>
                </a:ext>
              </a:extLst>
            </p:cNvPr>
            <p:cNvSpPr/>
            <p:nvPr/>
          </p:nvSpPr>
          <p:spPr>
            <a:xfrm>
              <a:off x="4451703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2" name="Kombinationstegning: figur 51">
              <a:extLst>
                <a:ext uri="{FF2B5EF4-FFF2-40B4-BE49-F238E27FC236}">
                  <a16:creationId xmlns:a16="http://schemas.microsoft.com/office/drawing/2014/main" id="{16B6463C-FFA8-F5A4-E700-E99D043E4136}"/>
                </a:ext>
              </a:extLst>
            </p:cNvPr>
            <p:cNvSpPr/>
            <p:nvPr/>
          </p:nvSpPr>
          <p:spPr>
            <a:xfrm>
              <a:off x="4696850" y="1897496"/>
              <a:ext cx="63738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65372"/>
                  </a:lnTo>
                  <a:lnTo>
                    <a:pt x="637380" y="65372"/>
                  </a:lnTo>
                  <a:lnTo>
                    <a:pt x="637380" y="130744"/>
                  </a:lnTo>
                </a:path>
              </a:pathLst>
            </a:custGeom>
            <a:noFill/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3" name="Kombinationstegning: figur 52">
              <a:extLst>
                <a:ext uri="{FF2B5EF4-FFF2-40B4-BE49-F238E27FC236}">
                  <a16:creationId xmlns:a16="http://schemas.microsoft.com/office/drawing/2014/main" id="{4BB8F0EC-4FF9-58F5-08F2-E21A2DBD6FB2}"/>
                </a:ext>
              </a:extLst>
            </p:cNvPr>
            <p:cNvSpPr/>
            <p:nvPr/>
          </p:nvSpPr>
          <p:spPr>
            <a:xfrm>
              <a:off x="5089084" y="2028240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4" name="Kombinationstegning: figur 53">
              <a:extLst>
                <a:ext uri="{FF2B5EF4-FFF2-40B4-BE49-F238E27FC236}">
                  <a16:creationId xmlns:a16="http://schemas.microsoft.com/office/drawing/2014/main" id="{11C0307C-F035-5030-F936-D540C3D23AE9}"/>
                </a:ext>
              </a:extLst>
            </p:cNvPr>
            <p:cNvSpPr/>
            <p:nvPr/>
          </p:nvSpPr>
          <p:spPr>
            <a:xfrm>
              <a:off x="5288510" y="2355102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5" name="Kombinationstegning: figur 54">
              <a:extLst>
                <a:ext uri="{FF2B5EF4-FFF2-40B4-BE49-F238E27FC236}">
                  <a16:creationId xmlns:a16="http://schemas.microsoft.com/office/drawing/2014/main" id="{F2E4655E-FB43-A50E-D49A-4AB3FA22FAC5}"/>
                </a:ext>
              </a:extLst>
            </p:cNvPr>
            <p:cNvSpPr/>
            <p:nvPr/>
          </p:nvSpPr>
          <p:spPr>
            <a:xfrm>
              <a:off x="5089084" y="2485847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  <p:sp>
          <p:nvSpPr>
            <p:cNvPr id="56" name="Kombinationstegning: figur 55">
              <a:extLst>
                <a:ext uri="{FF2B5EF4-FFF2-40B4-BE49-F238E27FC236}">
                  <a16:creationId xmlns:a16="http://schemas.microsoft.com/office/drawing/2014/main" id="{F17E9AEF-B661-8E2C-C222-883DEEADD413}"/>
                </a:ext>
              </a:extLst>
            </p:cNvPr>
            <p:cNvSpPr/>
            <p:nvPr/>
          </p:nvSpPr>
          <p:spPr>
            <a:xfrm>
              <a:off x="5288510" y="2812709"/>
              <a:ext cx="91440" cy="130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130744"/>
                  </a:lnTo>
                </a:path>
              </a:pathLst>
            </a:custGeom>
            <a:noFill/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a-DK"/>
            </a:p>
          </p:txBody>
        </p:sp>
        <p:sp>
          <p:nvSpPr>
            <p:cNvPr id="57" name="Kombinationstegning: figur 56">
              <a:extLst>
                <a:ext uri="{FF2B5EF4-FFF2-40B4-BE49-F238E27FC236}">
                  <a16:creationId xmlns:a16="http://schemas.microsoft.com/office/drawing/2014/main" id="{3CCD1BAF-8F4B-4601-BDAE-95AF88B2E034}"/>
                </a:ext>
              </a:extLst>
            </p:cNvPr>
            <p:cNvSpPr/>
            <p:nvPr/>
          </p:nvSpPr>
          <p:spPr>
            <a:xfrm>
              <a:off x="5089084" y="2943453"/>
              <a:ext cx="490292" cy="326861"/>
            </a:xfrm>
            <a:custGeom>
              <a:avLst/>
              <a:gdLst>
                <a:gd name="connsiteX0" fmla="*/ 0 w 490292"/>
                <a:gd name="connsiteY0" fmla="*/ 32686 h 326861"/>
                <a:gd name="connsiteX1" fmla="*/ 32686 w 490292"/>
                <a:gd name="connsiteY1" fmla="*/ 0 h 326861"/>
                <a:gd name="connsiteX2" fmla="*/ 457606 w 490292"/>
                <a:gd name="connsiteY2" fmla="*/ 0 h 326861"/>
                <a:gd name="connsiteX3" fmla="*/ 490292 w 490292"/>
                <a:gd name="connsiteY3" fmla="*/ 32686 h 326861"/>
                <a:gd name="connsiteX4" fmla="*/ 490292 w 490292"/>
                <a:gd name="connsiteY4" fmla="*/ 294175 h 326861"/>
                <a:gd name="connsiteX5" fmla="*/ 457606 w 490292"/>
                <a:gd name="connsiteY5" fmla="*/ 326861 h 326861"/>
                <a:gd name="connsiteX6" fmla="*/ 32686 w 490292"/>
                <a:gd name="connsiteY6" fmla="*/ 326861 h 326861"/>
                <a:gd name="connsiteX7" fmla="*/ 0 w 490292"/>
                <a:gd name="connsiteY7" fmla="*/ 294175 h 326861"/>
                <a:gd name="connsiteX8" fmla="*/ 0 w 490292"/>
                <a:gd name="connsiteY8" fmla="*/ 32686 h 32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0292" h="326861">
                  <a:moveTo>
                    <a:pt x="0" y="32686"/>
                  </a:moveTo>
                  <a:cubicBezTo>
                    <a:pt x="0" y="14634"/>
                    <a:pt x="14634" y="0"/>
                    <a:pt x="32686" y="0"/>
                  </a:cubicBezTo>
                  <a:lnTo>
                    <a:pt x="457606" y="0"/>
                  </a:lnTo>
                  <a:cubicBezTo>
                    <a:pt x="475658" y="0"/>
                    <a:pt x="490292" y="14634"/>
                    <a:pt x="490292" y="32686"/>
                  </a:cubicBezTo>
                  <a:lnTo>
                    <a:pt x="490292" y="294175"/>
                  </a:lnTo>
                  <a:cubicBezTo>
                    <a:pt x="490292" y="312227"/>
                    <a:pt x="475658" y="326861"/>
                    <a:pt x="457606" y="326861"/>
                  </a:cubicBezTo>
                  <a:lnTo>
                    <a:pt x="32686" y="326861"/>
                  </a:lnTo>
                  <a:cubicBezTo>
                    <a:pt x="14634" y="326861"/>
                    <a:pt x="0" y="312227"/>
                    <a:pt x="0" y="294175"/>
                  </a:cubicBezTo>
                  <a:lnTo>
                    <a:pt x="0" y="3268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913" tIns="62913" rIns="62913" bIns="62913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 dirty="0"/>
            </a:p>
          </p:txBody>
        </p:sp>
      </p:grpSp>
      <p:sp>
        <p:nvSpPr>
          <p:cNvPr id="59" name="Rektangel: afrundede hjørner 58">
            <a:extLst>
              <a:ext uri="{FF2B5EF4-FFF2-40B4-BE49-F238E27FC236}">
                <a16:creationId xmlns:a16="http://schemas.microsoft.com/office/drawing/2014/main" id="{50C0398A-C47D-8FD7-7032-6A581F013A69}"/>
              </a:ext>
            </a:extLst>
          </p:cNvPr>
          <p:cNvSpPr/>
          <p:nvPr/>
        </p:nvSpPr>
        <p:spPr>
          <a:xfrm>
            <a:off x="9294708" y="583522"/>
            <a:ext cx="987878" cy="326932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algn="ctr"/>
            <a:r>
              <a:rPr lang="da-DK" sz="1200" dirty="0"/>
              <a:t>Data</a:t>
            </a:r>
            <a:endParaRPr lang="da-DK" dirty="0"/>
          </a:p>
        </p:txBody>
      </p:sp>
      <p:cxnSp>
        <p:nvCxnSpPr>
          <p:cNvPr id="61" name="Lige pilforbindelse 60">
            <a:extLst>
              <a:ext uri="{FF2B5EF4-FFF2-40B4-BE49-F238E27FC236}">
                <a16:creationId xmlns:a16="http://schemas.microsoft.com/office/drawing/2014/main" id="{C475EDC0-7D53-CEA3-A065-441D450B649E}"/>
              </a:ext>
            </a:extLst>
          </p:cNvPr>
          <p:cNvCxnSpPr>
            <a:cxnSpLocks/>
          </p:cNvCxnSpPr>
          <p:nvPr/>
        </p:nvCxnSpPr>
        <p:spPr>
          <a:xfrm flipH="1">
            <a:off x="8974362" y="97155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Lige pilforbindelse 1030">
            <a:extLst>
              <a:ext uri="{FF2B5EF4-FFF2-40B4-BE49-F238E27FC236}">
                <a16:creationId xmlns:a16="http://schemas.microsoft.com/office/drawing/2014/main" id="{4C3A17C5-F0C4-A67F-5AB3-02810827A66D}"/>
              </a:ext>
            </a:extLst>
          </p:cNvPr>
          <p:cNvCxnSpPr>
            <a:cxnSpLocks/>
          </p:cNvCxnSpPr>
          <p:nvPr/>
        </p:nvCxnSpPr>
        <p:spPr>
          <a:xfrm>
            <a:off x="10286087" y="97155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2" name="Lige pilforbindelse 1031">
            <a:extLst>
              <a:ext uri="{FF2B5EF4-FFF2-40B4-BE49-F238E27FC236}">
                <a16:creationId xmlns:a16="http://schemas.microsoft.com/office/drawing/2014/main" id="{EADFF351-E456-1C71-6D5C-E658A063858A}"/>
              </a:ext>
            </a:extLst>
          </p:cNvPr>
          <p:cNvCxnSpPr>
            <a:cxnSpLocks/>
          </p:cNvCxnSpPr>
          <p:nvPr/>
        </p:nvCxnSpPr>
        <p:spPr>
          <a:xfrm>
            <a:off x="8971640" y="509996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Lige pilforbindelse 1032">
            <a:extLst>
              <a:ext uri="{FF2B5EF4-FFF2-40B4-BE49-F238E27FC236}">
                <a16:creationId xmlns:a16="http://schemas.microsoft.com/office/drawing/2014/main" id="{BCB52A13-6A94-C29B-72AA-F6ACE2A0237F}"/>
              </a:ext>
            </a:extLst>
          </p:cNvPr>
          <p:cNvCxnSpPr>
            <a:cxnSpLocks/>
          </p:cNvCxnSpPr>
          <p:nvPr/>
        </p:nvCxnSpPr>
        <p:spPr>
          <a:xfrm flipH="1">
            <a:off x="10283365" y="5099960"/>
            <a:ext cx="272970" cy="32657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4" name="Rektangel: afrundede hjørner 1033">
            <a:extLst>
              <a:ext uri="{FF2B5EF4-FFF2-40B4-BE49-F238E27FC236}">
                <a16:creationId xmlns:a16="http://schemas.microsoft.com/office/drawing/2014/main" id="{DC4B78E7-1C8F-7CBF-253B-4071E1E3DAB3}"/>
              </a:ext>
            </a:extLst>
          </p:cNvPr>
          <p:cNvSpPr/>
          <p:nvPr/>
        </p:nvSpPr>
        <p:spPr>
          <a:xfrm>
            <a:off x="9156979" y="5557679"/>
            <a:ext cx="1263336" cy="326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algn="ctr"/>
            <a:r>
              <a:rPr lang="da-DK" sz="1200" dirty="0">
                <a:solidFill>
                  <a:schemeClr val="tx1"/>
                </a:solidFill>
              </a:rPr>
              <a:t>Prædiktion</a:t>
            </a:r>
            <a:endParaRPr lang="da-DK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6171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4" y="1088631"/>
            <a:ext cx="5535650" cy="50772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sz="1600" b="1" dirty="0"/>
              <a:t>Gradient </a:t>
            </a:r>
            <a:r>
              <a:rPr lang="da-DK" sz="1600" b="1" dirty="0" err="1"/>
              <a:t>Boosting</a:t>
            </a:r>
            <a:endParaRPr lang="da-DK" sz="1600" b="1" dirty="0"/>
          </a:p>
          <a:p>
            <a:pPr lvl="1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Hvor RF and ET bygger flere træer på samme tid, bygger Gradient </a:t>
            </a:r>
            <a:r>
              <a:rPr lang="da-DK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Boosting</a:t>
            </a: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ét træ ad gangen.</a:t>
            </a:r>
          </a:p>
          <a:p>
            <a:pPr lvl="2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Gradient </a:t>
            </a:r>
            <a:r>
              <a:rPr lang="da-DK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Boosting</a:t>
            </a: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adskiller sig ved sin sekventielle tilgang, hvor hvert nyt træ bygges for at forbedre de eksisterende træers fejl.</a:t>
            </a:r>
          </a:p>
          <a:p>
            <a:pPr lvl="1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Hvert træ i modellen er typisk et svagt beslutningstræ, hvilket betyder, at det ikke er særlig komplekst. </a:t>
            </a:r>
          </a:p>
          <a:p>
            <a:pPr lvl="2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Målet er ikke at bygge stærke individuelle prædiktorer, men snarere at kombinere mange svage prædiktorer for at skabe en stærk samlet model.</a:t>
            </a:r>
          </a:p>
          <a:p>
            <a:pPr>
              <a:lnSpc>
                <a:spcPct val="100000"/>
              </a:lnSpc>
            </a:pPr>
            <a:r>
              <a:rPr lang="da-DK" sz="1600" b="1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eXtreme</a:t>
            </a:r>
            <a:r>
              <a:rPr lang="da-DK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 Gradient </a:t>
            </a:r>
            <a:r>
              <a:rPr lang="da-DK" sz="1600" b="1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Boosting</a:t>
            </a:r>
            <a:endParaRPr lang="da-DK" sz="1600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lvl="1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En nøglefunktion i </a:t>
            </a:r>
            <a:r>
              <a:rPr lang="da-DK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XGBoost</a:t>
            </a: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er indførelsen af regulering (som i EN), som hjælper med at reducere overfitting.</a:t>
            </a:r>
          </a:p>
          <a:p>
            <a:pPr lvl="1">
              <a:lnSpc>
                <a:spcPct val="100000"/>
              </a:lnSpc>
            </a:pPr>
            <a:r>
              <a:rPr lang="da-DK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XGBoost</a:t>
            </a: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er optimeret for både hastighed og hukommelsesbrug, hvilket gør den praktisk for store datasæt.</a:t>
            </a:r>
          </a:p>
        </p:txBody>
      </p:sp>
      <p:grpSp>
        <p:nvGrpSpPr>
          <p:cNvPr id="1037" name="Gruppe 1036">
            <a:extLst>
              <a:ext uri="{FF2B5EF4-FFF2-40B4-BE49-F238E27FC236}">
                <a16:creationId xmlns:a16="http://schemas.microsoft.com/office/drawing/2014/main" id="{D0BDC632-9774-3720-F779-75AC3B4C7B34}"/>
              </a:ext>
            </a:extLst>
          </p:cNvPr>
          <p:cNvGrpSpPr/>
          <p:nvPr/>
        </p:nvGrpSpPr>
        <p:grpSpPr>
          <a:xfrm>
            <a:off x="8389958" y="194961"/>
            <a:ext cx="2909021" cy="6113208"/>
            <a:chOff x="8790005" y="194961"/>
            <a:chExt cx="2909021" cy="6113208"/>
          </a:xfrm>
        </p:grpSpPr>
        <p:grpSp>
          <p:nvGrpSpPr>
            <p:cNvPr id="1026" name="Gruppe 1025">
              <a:extLst>
                <a:ext uri="{FF2B5EF4-FFF2-40B4-BE49-F238E27FC236}">
                  <a16:creationId xmlns:a16="http://schemas.microsoft.com/office/drawing/2014/main" id="{873167F7-34C3-BD20-A5D7-DD8A5CB19525}"/>
                </a:ext>
              </a:extLst>
            </p:cNvPr>
            <p:cNvGrpSpPr/>
            <p:nvPr/>
          </p:nvGrpSpPr>
          <p:grpSpPr>
            <a:xfrm>
              <a:off x="9130806" y="194961"/>
              <a:ext cx="2568220" cy="6113208"/>
              <a:chOff x="8012299" y="194961"/>
              <a:chExt cx="2568220" cy="6113208"/>
            </a:xfrm>
          </p:grpSpPr>
          <p:cxnSp>
            <p:nvCxnSpPr>
              <p:cNvPr id="63" name="Lige pilforbindelse 62">
                <a:extLst>
                  <a:ext uri="{FF2B5EF4-FFF2-40B4-BE49-F238E27FC236}">
                    <a16:creationId xmlns:a16="http://schemas.microsoft.com/office/drawing/2014/main" id="{45359961-6FF2-DE32-D479-1B277FFFCD66}"/>
                  </a:ext>
                </a:extLst>
              </p:cNvPr>
              <p:cNvCxnSpPr/>
              <p:nvPr/>
            </p:nvCxnSpPr>
            <p:spPr>
              <a:xfrm>
                <a:off x="9346305" y="603976"/>
                <a:ext cx="0" cy="215227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6" name="Gruppe 25">
                <a:extLst>
                  <a:ext uri="{FF2B5EF4-FFF2-40B4-BE49-F238E27FC236}">
                    <a16:creationId xmlns:a16="http://schemas.microsoft.com/office/drawing/2014/main" id="{C5271702-E4C9-108A-1920-A0FD05FA156E}"/>
                  </a:ext>
                </a:extLst>
              </p:cNvPr>
              <p:cNvGrpSpPr/>
              <p:nvPr/>
            </p:nvGrpSpPr>
            <p:grpSpPr>
              <a:xfrm>
                <a:off x="8012299" y="2778063"/>
                <a:ext cx="2243089" cy="3530106"/>
                <a:chOff x="3336287" y="1570634"/>
                <a:chExt cx="2243089" cy="3530106"/>
              </a:xfrm>
            </p:grpSpPr>
            <p:sp>
              <p:nvSpPr>
                <p:cNvPr id="27" name="Kombinationstegning: figur 26">
                  <a:extLst>
                    <a:ext uri="{FF2B5EF4-FFF2-40B4-BE49-F238E27FC236}">
                      <a16:creationId xmlns:a16="http://schemas.microsoft.com/office/drawing/2014/main" id="{26E3C25E-716D-8D1F-1D1D-A2E2149D7A77}"/>
                    </a:ext>
                  </a:extLst>
                </p:cNvPr>
                <p:cNvSpPr/>
                <p:nvPr/>
              </p:nvSpPr>
              <p:spPr>
                <a:xfrm>
                  <a:off x="4451703" y="1570634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28" name="Kombinationstegning: figur 27">
                  <a:extLst>
                    <a:ext uri="{FF2B5EF4-FFF2-40B4-BE49-F238E27FC236}">
                      <a16:creationId xmlns:a16="http://schemas.microsoft.com/office/drawing/2014/main" id="{5206E16E-D6D0-CD81-EEFE-314E8A06EF4B}"/>
                    </a:ext>
                  </a:extLst>
                </p:cNvPr>
                <p:cNvSpPr/>
                <p:nvPr/>
              </p:nvSpPr>
              <p:spPr>
                <a:xfrm>
                  <a:off x="4059469" y="1897496"/>
                  <a:ext cx="63738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637380" y="0"/>
                      </a:moveTo>
                      <a:lnTo>
                        <a:pt x="637380" y="65372"/>
                      </a:lnTo>
                      <a:lnTo>
                        <a:pt x="0" y="65372"/>
                      </a:lnTo>
                      <a:lnTo>
                        <a:pt x="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29" name="Kombinationstegning: figur 28">
                  <a:extLst>
                    <a:ext uri="{FF2B5EF4-FFF2-40B4-BE49-F238E27FC236}">
                      <a16:creationId xmlns:a16="http://schemas.microsoft.com/office/drawing/2014/main" id="{89FE57C3-7A95-EA6B-312C-027758A8EA1A}"/>
                    </a:ext>
                  </a:extLst>
                </p:cNvPr>
                <p:cNvSpPr/>
                <p:nvPr/>
              </p:nvSpPr>
              <p:spPr>
                <a:xfrm>
                  <a:off x="3814323" y="2028240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30" name="Kombinationstegning: figur 29">
                  <a:extLst>
                    <a:ext uri="{FF2B5EF4-FFF2-40B4-BE49-F238E27FC236}">
                      <a16:creationId xmlns:a16="http://schemas.microsoft.com/office/drawing/2014/main" id="{F37D206A-1D86-FFAA-CB4A-205360271EDF}"/>
                    </a:ext>
                  </a:extLst>
                </p:cNvPr>
                <p:cNvSpPr/>
                <p:nvPr/>
              </p:nvSpPr>
              <p:spPr>
                <a:xfrm>
                  <a:off x="4013749" y="2355102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31" name="Kombinationstegning: figur 30">
                  <a:extLst>
                    <a:ext uri="{FF2B5EF4-FFF2-40B4-BE49-F238E27FC236}">
                      <a16:creationId xmlns:a16="http://schemas.microsoft.com/office/drawing/2014/main" id="{077FD3EA-C63E-9D06-5019-AEB1B9D87BE4}"/>
                    </a:ext>
                  </a:extLst>
                </p:cNvPr>
                <p:cNvSpPr/>
                <p:nvPr/>
              </p:nvSpPr>
              <p:spPr>
                <a:xfrm>
                  <a:off x="3814323" y="2485847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32" name="Kombinationstegning: figur 31">
                  <a:extLst>
                    <a:ext uri="{FF2B5EF4-FFF2-40B4-BE49-F238E27FC236}">
                      <a16:creationId xmlns:a16="http://schemas.microsoft.com/office/drawing/2014/main" id="{F15D48E2-5DAA-94F7-994B-39A7D0BEE898}"/>
                    </a:ext>
                  </a:extLst>
                </p:cNvPr>
                <p:cNvSpPr/>
                <p:nvPr/>
              </p:nvSpPr>
              <p:spPr>
                <a:xfrm>
                  <a:off x="4013749" y="2812709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33" name="Kombinationstegning: figur 32">
                  <a:extLst>
                    <a:ext uri="{FF2B5EF4-FFF2-40B4-BE49-F238E27FC236}">
                      <a16:creationId xmlns:a16="http://schemas.microsoft.com/office/drawing/2014/main" id="{D66BB891-D043-9FC2-B718-BAAB4D19B95F}"/>
                    </a:ext>
                  </a:extLst>
                </p:cNvPr>
                <p:cNvSpPr/>
                <p:nvPr/>
              </p:nvSpPr>
              <p:spPr>
                <a:xfrm>
                  <a:off x="3814323" y="2943453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34" name="Kombinationstegning: figur 33">
                  <a:extLst>
                    <a:ext uri="{FF2B5EF4-FFF2-40B4-BE49-F238E27FC236}">
                      <a16:creationId xmlns:a16="http://schemas.microsoft.com/office/drawing/2014/main" id="{9F40452B-AEFD-8173-7F25-3857F91FC01B}"/>
                    </a:ext>
                  </a:extLst>
                </p:cNvPr>
                <p:cNvSpPr/>
                <p:nvPr/>
              </p:nvSpPr>
              <p:spPr>
                <a:xfrm>
                  <a:off x="3581434" y="3270315"/>
                  <a:ext cx="478035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78035" y="0"/>
                      </a:moveTo>
                      <a:lnTo>
                        <a:pt x="478035" y="65372"/>
                      </a:lnTo>
                      <a:lnTo>
                        <a:pt x="0" y="65372"/>
                      </a:lnTo>
                      <a:lnTo>
                        <a:pt x="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35" name="Kombinationstegning: figur 34">
                  <a:extLst>
                    <a:ext uri="{FF2B5EF4-FFF2-40B4-BE49-F238E27FC236}">
                      <a16:creationId xmlns:a16="http://schemas.microsoft.com/office/drawing/2014/main" id="{22C214EA-DF2F-3240-6097-CF1850AFC665}"/>
                    </a:ext>
                  </a:extLst>
                </p:cNvPr>
                <p:cNvSpPr/>
                <p:nvPr/>
              </p:nvSpPr>
              <p:spPr>
                <a:xfrm>
                  <a:off x="3336287" y="3401060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36" name="Kombinationstegning: figur 35">
                  <a:extLst>
                    <a:ext uri="{FF2B5EF4-FFF2-40B4-BE49-F238E27FC236}">
                      <a16:creationId xmlns:a16="http://schemas.microsoft.com/office/drawing/2014/main" id="{A60F26C6-1F2B-803D-0EE6-F6EC5FFC79FD}"/>
                    </a:ext>
                  </a:extLst>
                </p:cNvPr>
                <p:cNvSpPr/>
                <p:nvPr/>
              </p:nvSpPr>
              <p:spPr>
                <a:xfrm>
                  <a:off x="3535714" y="3727922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37" name="Kombinationstegning: figur 36">
                  <a:extLst>
                    <a:ext uri="{FF2B5EF4-FFF2-40B4-BE49-F238E27FC236}">
                      <a16:creationId xmlns:a16="http://schemas.microsoft.com/office/drawing/2014/main" id="{039E6CD4-8072-32E3-138F-685ADED1ADC0}"/>
                    </a:ext>
                  </a:extLst>
                </p:cNvPr>
                <p:cNvSpPr/>
                <p:nvPr/>
              </p:nvSpPr>
              <p:spPr>
                <a:xfrm>
                  <a:off x="3336287" y="3858666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38" name="Kombinationstegning: figur 37">
                  <a:extLst>
                    <a:ext uri="{FF2B5EF4-FFF2-40B4-BE49-F238E27FC236}">
                      <a16:creationId xmlns:a16="http://schemas.microsoft.com/office/drawing/2014/main" id="{11298FD7-C9CE-02D0-D595-4A757FD8E75A}"/>
                    </a:ext>
                  </a:extLst>
                </p:cNvPr>
                <p:cNvSpPr/>
                <p:nvPr/>
              </p:nvSpPr>
              <p:spPr>
                <a:xfrm>
                  <a:off x="4059469" y="3270315"/>
                  <a:ext cx="478035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0"/>
                      </a:moveTo>
                      <a:lnTo>
                        <a:pt x="0" y="65372"/>
                      </a:lnTo>
                      <a:lnTo>
                        <a:pt x="478035" y="65372"/>
                      </a:lnTo>
                      <a:lnTo>
                        <a:pt x="478035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39" name="Kombinationstegning: figur 38">
                  <a:extLst>
                    <a:ext uri="{FF2B5EF4-FFF2-40B4-BE49-F238E27FC236}">
                      <a16:creationId xmlns:a16="http://schemas.microsoft.com/office/drawing/2014/main" id="{DDD66691-20D5-208B-D44C-1B8D4AD29CC8}"/>
                    </a:ext>
                  </a:extLst>
                </p:cNvPr>
                <p:cNvSpPr/>
                <p:nvPr/>
              </p:nvSpPr>
              <p:spPr>
                <a:xfrm>
                  <a:off x="4292358" y="3401060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40" name="Kombinationstegning: figur 39">
                  <a:extLst>
                    <a:ext uri="{FF2B5EF4-FFF2-40B4-BE49-F238E27FC236}">
                      <a16:creationId xmlns:a16="http://schemas.microsoft.com/office/drawing/2014/main" id="{8977EE18-E866-055F-584C-BE1FFACDB2C0}"/>
                    </a:ext>
                  </a:extLst>
                </p:cNvPr>
                <p:cNvSpPr/>
                <p:nvPr/>
              </p:nvSpPr>
              <p:spPr>
                <a:xfrm>
                  <a:off x="4218814" y="3727922"/>
                  <a:ext cx="31869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318690" y="0"/>
                      </a:moveTo>
                      <a:lnTo>
                        <a:pt x="318690" y="65372"/>
                      </a:lnTo>
                      <a:lnTo>
                        <a:pt x="0" y="65372"/>
                      </a:lnTo>
                      <a:lnTo>
                        <a:pt x="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41" name="Kombinationstegning: figur 40">
                  <a:extLst>
                    <a:ext uri="{FF2B5EF4-FFF2-40B4-BE49-F238E27FC236}">
                      <a16:creationId xmlns:a16="http://schemas.microsoft.com/office/drawing/2014/main" id="{A0CE5E68-69E6-D60D-91E5-366BE5B5822D}"/>
                    </a:ext>
                  </a:extLst>
                </p:cNvPr>
                <p:cNvSpPr/>
                <p:nvPr/>
              </p:nvSpPr>
              <p:spPr>
                <a:xfrm>
                  <a:off x="3973668" y="3858666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42" name="Kombinationstegning: figur 41">
                  <a:extLst>
                    <a:ext uri="{FF2B5EF4-FFF2-40B4-BE49-F238E27FC236}">
                      <a16:creationId xmlns:a16="http://schemas.microsoft.com/office/drawing/2014/main" id="{0EBAFA16-5428-06D2-1750-C64761990E5A}"/>
                    </a:ext>
                  </a:extLst>
                </p:cNvPr>
                <p:cNvSpPr/>
                <p:nvPr/>
              </p:nvSpPr>
              <p:spPr>
                <a:xfrm>
                  <a:off x="4537505" y="3727922"/>
                  <a:ext cx="31869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0"/>
                      </a:moveTo>
                      <a:lnTo>
                        <a:pt x="0" y="65372"/>
                      </a:lnTo>
                      <a:lnTo>
                        <a:pt x="318690" y="65372"/>
                      </a:lnTo>
                      <a:lnTo>
                        <a:pt x="31869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43" name="Kombinationstegning: figur 42">
                  <a:extLst>
                    <a:ext uri="{FF2B5EF4-FFF2-40B4-BE49-F238E27FC236}">
                      <a16:creationId xmlns:a16="http://schemas.microsoft.com/office/drawing/2014/main" id="{E097D745-6D89-39BB-C07D-F001692468CF}"/>
                    </a:ext>
                  </a:extLst>
                </p:cNvPr>
                <p:cNvSpPr/>
                <p:nvPr/>
              </p:nvSpPr>
              <p:spPr>
                <a:xfrm>
                  <a:off x="4611048" y="3858666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44" name="Kombinationstegning: figur 43">
                  <a:extLst>
                    <a:ext uri="{FF2B5EF4-FFF2-40B4-BE49-F238E27FC236}">
                      <a16:creationId xmlns:a16="http://schemas.microsoft.com/office/drawing/2014/main" id="{8DF52694-4A69-A0F0-E1C7-E241503842B5}"/>
                    </a:ext>
                  </a:extLst>
                </p:cNvPr>
                <p:cNvSpPr/>
                <p:nvPr/>
              </p:nvSpPr>
              <p:spPr>
                <a:xfrm>
                  <a:off x="4810475" y="4185528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45" name="Kombinationstegning: figur 44">
                  <a:extLst>
                    <a:ext uri="{FF2B5EF4-FFF2-40B4-BE49-F238E27FC236}">
                      <a16:creationId xmlns:a16="http://schemas.microsoft.com/office/drawing/2014/main" id="{ED274FC7-532B-B80A-8AD6-D6B28F4CBC6C}"/>
                    </a:ext>
                  </a:extLst>
                </p:cNvPr>
                <p:cNvSpPr/>
                <p:nvPr/>
              </p:nvSpPr>
              <p:spPr>
                <a:xfrm>
                  <a:off x="4611048" y="4316273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46" name="Kombinationstegning: figur 45">
                  <a:extLst>
                    <a:ext uri="{FF2B5EF4-FFF2-40B4-BE49-F238E27FC236}">
                      <a16:creationId xmlns:a16="http://schemas.microsoft.com/office/drawing/2014/main" id="{2C357048-C200-101C-02B5-CF370691EEB2}"/>
                    </a:ext>
                  </a:extLst>
                </p:cNvPr>
                <p:cNvSpPr/>
                <p:nvPr/>
              </p:nvSpPr>
              <p:spPr>
                <a:xfrm>
                  <a:off x="4810475" y="4643135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47" name="Kombinationstegning: figur 46">
                  <a:extLst>
                    <a:ext uri="{FF2B5EF4-FFF2-40B4-BE49-F238E27FC236}">
                      <a16:creationId xmlns:a16="http://schemas.microsoft.com/office/drawing/2014/main" id="{89D91166-086B-1DE0-191D-A0CA779161A9}"/>
                    </a:ext>
                  </a:extLst>
                </p:cNvPr>
                <p:cNvSpPr/>
                <p:nvPr/>
              </p:nvSpPr>
              <p:spPr>
                <a:xfrm>
                  <a:off x="4611048" y="4773879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48" name="Kombinationstegning: figur 47">
                  <a:extLst>
                    <a:ext uri="{FF2B5EF4-FFF2-40B4-BE49-F238E27FC236}">
                      <a16:creationId xmlns:a16="http://schemas.microsoft.com/office/drawing/2014/main" id="{E93A5604-64C2-FF78-3A5A-43B8B4ABDD8F}"/>
                    </a:ext>
                  </a:extLst>
                </p:cNvPr>
                <p:cNvSpPr/>
                <p:nvPr/>
              </p:nvSpPr>
              <p:spPr>
                <a:xfrm>
                  <a:off x="4651130" y="1897496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49" name="Kombinationstegning: figur 48">
                  <a:extLst>
                    <a:ext uri="{FF2B5EF4-FFF2-40B4-BE49-F238E27FC236}">
                      <a16:creationId xmlns:a16="http://schemas.microsoft.com/office/drawing/2014/main" id="{40999C9A-3958-55A8-AD86-41E45F1FBBD7}"/>
                    </a:ext>
                  </a:extLst>
                </p:cNvPr>
                <p:cNvSpPr/>
                <p:nvPr/>
              </p:nvSpPr>
              <p:spPr>
                <a:xfrm>
                  <a:off x="4451703" y="2028240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50" name="Kombinationstegning: figur 49">
                  <a:extLst>
                    <a:ext uri="{FF2B5EF4-FFF2-40B4-BE49-F238E27FC236}">
                      <a16:creationId xmlns:a16="http://schemas.microsoft.com/office/drawing/2014/main" id="{13C90784-4193-05F7-23E0-176BB1673B27}"/>
                    </a:ext>
                  </a:extLst>
                </p:cNvPr>
                <p:cNvSpPr/>
                <p:nvPr/>
              </p:nvSpPr>
              <p:spPr>
                <a:xfrm>
                  <a:off x="4651130" y="2355102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51" name="Kombinationstegning: figur 50">
                  <a:extLst>
                    <a:ext uri="{FF2B5EF4-FFF2-40B4-BE49-F238E27FC236}">
                      <a16:creationId xmlns:a16="http://schemas.microsoft.com/office/drawing/2014/main" id="{613A9C6C-AEFC-1182-C77B-549E7E66E1BE}"/>
                    </a:ext>
                  </a:extLst>
                </p:cNvPr>
                <p:cNvSpPr/>
                <p:nvPr/>
              </p:nvSpPr>
              <p:spPr>
                <a:xfrm>
                  <a:off x="4451703" y="2485847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52" name="Kombinationstegning: figur 51">
                  <a:extLst>
                    <a:ext uri="{FF2B5EF4-FFF2-40B4-BE49-F238E27FC236}">
                      <a16:creationId xmlns:a16="http://schemas.microsoft.com/office/drawing/2014/main" id="{16B6463C-FFA8-F5A4-E700-E99D043E4136}"/>
                    </a:ext>
                  </a:extLst>
                </p:cNvPr>
                <p:cNvSpPr/>
                <p:nvPr/>
              </p:nvSpPr>
              <p:spPr>
                <a:xfrm>
                  <a:off x="4696850" y="1897496"/>
                  <a:ext cx="63738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0"/>
                      </a:moveTo>
                      <a:lnTo>
                        <a:pt x="0" y="65372"/>
                      </a:lnTo>
                      <a:lnTo>
                        <a:pt x="637380" y="65372"/>
                      </a:lnTo>
                      <a:lnTo>
                        <a:pt x="63738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53" name="Kombinationstegning: figur 52">
                  <a:extLst>
                    <a:ext uri="{FF2B5EF4-FFF2-40B4-BE49-F238E27FC236}">
                      <a16:creationId xmlns:a16="http://schemas.microsoft.com/office/drawing/2014/main" id="{4BB8F0EC-4FF9-58F5-08F2-E21A2DBD6FB2}"/>
                    </a:ext>
                  </a:extLst>
                </p:cNvPr>
                <p:cNvSpPr/>
                <p:nvPr/>
              </p:nvSpPr>
              <p:spPr>
                <a:xfrm>
                  <a:off x="5089084" y="2028240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54" name="Kombinationstegning: figur 53">
                  <a:extLst>
                    <a:ext uri="{FF2B5EF4-FFF2-40B4-BE49-F238E27FC236}">
                      <a16:creationId xmlns:a16="http://schemas.microsoft.com/office/drawing/2014/main" id="{11C0307C-F035-5030-F936-D540C3D23AE9}"/>
                    </a:ext>
                  </a:extLst>
                </p:cNvPr>
                <p:cNvSpPr/>
                <p:nvPr/>
              </p:nvSpPr>
              <p:spPr>
                <a:xfrm>
                  <a:off x="5288510" y="2355102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55" name="Kombinationstegning: figur 54">
                  <a:extLst>
                    <a:ext uri="{FF2B5EF4-FFF2-40B4-BE49-F238E27FC236}">
                      <a16:creationId xmlns:a16="http://schemas.microsoft.com/office/drawing/2014/main" id="{F2E4655E-FB43-A50E-D49A-4AB3FA22FAC5}"/>
                    </a:ext>
                  </a:extLst>
                </p:cNvPr>
                <p:cNvSpPr/>
                <p:nvPr/>
              </p:nvSpPr>
              <p:spPr>
                <a:xfrm>
                  <a:off x="5089084" y="2485847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56" name="Kombinationstegning: figur 55">
                  <a:extLst>
                    <a:ext uri="{FF2B5EF4-FFF2-40B4-BE49-F238E27FC236}">
                      <a16:creationId xmlns:a16="http://schemas.microsoft.com/office/drawing/2014/main" id="{F17E9AEF-B661-8E2C-C222-883DEEADD413}"/>
                    </a:ext>
                  </a:extLst>
                </p:cNvPr>
                <p:cNvSpPr/>
                <p:nvPr/>
              </p:nvSpPr>
              <p:spPr>
                <a:xfrm>
                  <a:off x="5288510" y="2812709"/>
                  <a:ext cx="91440" cy="13074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44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57" name="Kombinationstegning: figur 56">
                  <a:extLst>
                    <a:ext uri="{FF2B5EF4-FFF2-40B4-BE49-F238E27FC236}">
                      <a16:creationId xmlns:a16="http://schemas.microsoft.com/office/drawing/2014/main" id="{3CCD1BAF-8F4B-4601-BDAE-95AF88B2E034}"/>
                    </a:ext>
                  </a:extLst>
                </p:cNvPr>
                <p:cNvSpPr/>
                <p:nvPr/>
              </p:nvSpPr>
              <p:spPr>
                <a:xfrm>
                  <a:off x="5089084" y="2943453"/>
                  <a:ext cx="490292" cy="326861"/>
                </a:xfrm>
                <a:custGeom>
                  <a:avLst/>
                  <a:gdLst>
                    <a:gd name="connsiteX0" fmla="*/ 0 w 490292"/>
                    <a:gd name="connsiteY0" fmla="*/ 32686 h 326861"/>
                    <a:gd name="connsiteX1" fmla="*/ 32686 w 490292"/>
                    <a:gd name="connsiteY1" fmla="*/ 0 h 326861"/>
                    <a:gd name="connsiteX2" fmla="*/ 457606 w 490292"/>
                    <a:gd name="connsiteY2" fmla="*/ 0 h 326861"/>
                    <a:gd name="connsiteX3" fmla="*/ 490292 w 490292"/>
                    <a:gd name="connsiteY3" fmla="*/ 32686 h 326861"/>
                    <a:gd name="connsiteX4" fmla="*/ 490292 w 490292"/>
                    <a:gd name="connsiteY4" fmla="*/ 294175 h 326861"/>
                    <a:gd name="connsiteX5" fmla="*/ 457606 w 490292"/>
                    <a:gd name="connsiteY5" fmla="*/ 326861 h 326861"/>
                    <a:gd name="connsiteX6" fmla="*/ 32686 w 490292"/>
                    <a:gd name="connsiteY6" fmla="*/ 326861 h 326861"/>
                    <a:gd name="connsiteX7" fmla="*/ 0 w 490292"/>
                    <a:gd name="connsiteY7" fmla="*/ 294175 h 326861"/>
                    <a:gd name="connsiteX8" fmla="*/ 0 w 490292"/>
                    <a:gd name="connsiteY8" fmla="*/ 32686 h 326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292" h="326861">
                      <a:moveTo>
                        <a:pt x="0" y="32686"/>
                      </a:moveTo>
                      <a:cubicBezTo>
                        <a:pt x="0" y="14634"/>
                        <a:pt x="14634" y="0"/>
                        <a:pt x="32686" y="0"/>
                      </a:cubicBezTo>
                      <a:lnTo>
                        <a:pt x="457606" y="0"/>
                      </a:lnTo>
                      <a:cubicBezTo>
                        <a:pt x="475658" y="0"/>
                        <a:pt x="490292" y="14634"/>
                        <a:pt x="490292" y="32686"/>
                      </a:cubicBezTo>
                      <a:lnTo>
                        <a:pt x="490292" y="294175"/>
                      </a:lnTo>
                      <a:cubicBezTo>
                        <a:pt x="490292" y="312227"/>
                        <a:pt x="475658" y="326861"/>
                        <a:pt x="457606" y="326861"/>
                      </a:cubicBezTo>
                      <a:lnTo>
                        <a:pt x="32686" y="326861"/>
                      </a:lnTo>
                      <a:cubicBezTo>
                        <a:pt x="14634" y="326861"/>
                        <a:pt x="0" y="312227"/>
                        <a:pt x="0" y="294175"/>
                      </a:cubicBezTo>
                      <a:lnTo>
                        <a:pt x="0" y="32686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3" tIns="62913" rIns="62913" bIns="62913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</p:grpSp>
          <p:sp>
            <p:nvSpPr>
              <p:cNvPr id="59" name="Rektangel: afrundede hjørner 58">
                <a:extLst>
                  <a:ext uri="{FF2B5EF4-FFF2-40B4-BE49-F238E27FC236}">
                    <a16:creationId xmlns:a16="http://schemas.microsoft.com/office/drawing/2014/main" id="{50C0398A-C47D-8FD7-7032-6A581F013A69}"/>
                  </a:ext>
                </a:extLst>
              </p:cNvPr>
              <p:cNvSpPr/>
              <p:nvPr/>
            </p:nvSpPr>
            <p:spPr>
              <a:xfrm>
                <a:off x="8366798" y="194961"/>
                <a:ext cx="987878" cy="326932"/>
              </a:xfrm>
              <a:prstGeom prst="roundRect">
                <a:avLst>
                  <a:gd name="adj" fmla="val 0"/>
                </a:avLst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ctr"/>
                <a:r>
                  <a:rPr lang="da-DK" sz="1200" dirty="0"/>
                  <a:t>Data</a:t>
                </a:r>
                <a:endParaRPr lang="da-DK" dirty="0"/>
              </a:p>
            </p:txBody>
          </p:sp>
          <p:grpSp>
            <p:nvGrpSpPr>
              <p:cNvPr id="7" name="Gruppe 6">
                <a:extLst>
                  <a:ext uri="{FF2B5EF4-FFF2-40B4-BE49-F238E27FC236}">
                    <a16:creationId xmlns:a16="http://schemas.microsoft.com/office/drawing/2014/main" id="{C904598B-EC22-26E1-9F66-CAF863E3524E}"/>
                  </a:ext>
                </a:extLst>
              </p:cNvPr>
              <p:cNvGrpSpPr/>
              <p:nvPr/>
            </p:nvGrpSpPr>
            <p:grpSpPr>
              <a:xfrm>
                <a:off x="8496326" y="925430"/>
                <a:ext cx="2084193" cy="2157753"/>
                <a:chOff x="5868059" y="1568668"/>
                <a:chExt cx="2084193" cy="2157753"/>
              </a:xfrm>
            </p:grpSpPr>
            <p:sp>
              <p:nvSpPr>
                <p:cNvPr id="8" name="Kombinationstegning: figur 7">
                  <a:extLst>
                    <a:ext uri="{FF2B5EF4-FFF2-40B4-BE49-F238E27FC236}">
                      <a16:creationId xmlns:a16="http://schemas.microsoft.com/office/drawing/2014/main" id="{0576E1AC-95E7-92B3-F696-3D2A14753903}"/>
                    </a:ext>
                  </a:extLst>
                </p:cNvPr>
                <p:cNvSpPr/>
                <p:nvPr/>
              </p:nvSpPr>
              <p:spPr>
                <a:xfrm>
                  <a:off x="6824336" y="1568668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9" name="Kombinationstegning: figur 8">
                  <a:extLst>
                    <a:ext uri="{FF2B5EF4-FFF2-40B4-BE49-F238E27FC236}">
                      <a16:creationId xmlns:a16="http://schemas.microsoft.com/office/drawing/2014/main" id="{E9BD0B23-178C-AC98-727C-20DC54AD968D}"/>
                    </a:ext>
                  </a:extLst>
                </p:cNvPr>
                <p:cNvSpPr/>
                <p:nvPr/>
              </p:nvSpPr>
              <p:spPr>
                <a:xfrm>
                  <a:off x="6432017" y="1895600"/>
                  <a:ext cx="637518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637518" y="0"/>
                      </a:moveTo>
                      <a:lnTo>
                        <a:pt x="637518" y="65386"/>
                      </a:lnTo>
                      <a:lnTo>
                        <a:pt x="0" y="65386"/>
                      </a:lnTo>
                      <a:lnTo>
                        <a:pt x="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11" name="Kombinationstegning: figur 10">
                  <a:extLst>
                    <a:ext uri="{FF2B5EF4-FFF2-40B4-BE49-F238E27FC236}">
                      <a16:creationId xmlns:a16="http://schemas.microsoft.com/office/drawing/2014/main" id="{84A9990C-48CA-840C-0260-0A9D285216B7}"/>
                    </a:ext>
                  </a:extLst>
                </p:cNvPr>
                <p:cNvSpPr/>
                <p:nvPr/>
              </p:nvSpPr>
              <p:spPr>
                <a:xfrm>
                  <a:off x="6186818" y="2026373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12" name="Kombinationstegning: figur 11">
                  <a:extLst>
                    <a:ext uri="{FF2B5EF4-FFF2-40B4-BE49-F238E27FC236}">
                      <a16:creationId xmlns:a16="http://schemas.microsoft.com/office/drawing/2014/main" id="{9C901F3E-996B-8A6C-0C3C-D883A460B803}"/>
                    </a:ext>
                  </a:extLst>
                </p:cNvPr>
                <p:cNvSpPr/>
                <p:nvPr/>
              </p:nvSpPr>
              <p:spPr>
                <a:xfrm>
                  <a:off x="6113258" y="2353305"/>
                  <a:ext cx="318759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318759" y="0"/>
                      </a:moveTo>
                      <a:lnTo>
                        <a:pt x="318759" y="65386"/>
                      </a:lnTo>
                      <a:lnTo>
                        <a:pt x="0" y="65386"/>
                      </a:lnTo>
                      <a:lnTo>
                        <a:pt x="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13" name="Kombinationstegning: figur 12">
                  <a:extLst>
                    <a:ext uri="{FF2B5EF4-FFF2-40B4-BE49-F238E27FC236}">
                      <a16:creationId xmlns:a16="http://schemas.microsoft.com/office/drawing/2014/main" id="{C1647C01-3CA8-28A2-7121-B639EC7593BD}"/>
                    </a:ext>
                  </a:extLst>
                </p:cNvPr>
                <p:cNvSpPr/>
                <p:nvPr/>
              </p:nvSpPr>
              <p:spPr>
                <a:xfrm>
                  <a:off x="5868059" y="2484078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14" name="Kombinationstegning: figur 13">
                  <a:extLst>
                    <a:ext uri="{FF2B5EF4-FFF2-40B4-BE49-F238E27FC236}">
                      <a16:creationId xmlns:a16="http://schemas.microsoft.com/office/drawing/2014/main" id="{AA1D4499-D718-B10E-D57E-44B35F36A7F3}"/>
                    </a:ext>
                  </a:extLst>
                </p:cNvPr>
                <p:cNvSpPr/>
                <p:nvPr/>
              </p:nvSpPr>
              <p:spPr>
                <a:xfrm>
                  <a:off x="6432017" y="2353305"/>
                  <a:ext cx="318759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0"/>
                      </a:moveTo>
                      <a:lnTo>
                        <a:pt x="0" y="65386"/>
                      </a:lnTo>
                      <a:lnTo>
                        <a:pt x="318759" y="65386"/>
                      </a:lnTo>
                      <a:lnTo>
                        <a:pt x="318759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15" name="Kombinationstegning: figur 14">
                  <a:extLst>
                    <a:ext uri="{FF2B5EF4-FFF2-40B4-BE49-F238E27FC236}">
                      <a16:creationId xmlns:a16="http://schemas.microsoft.com/office/drawing/2014/main" id="{D726165E-F080-3B74-B1EC-76DDAC068256}"/>
                    </a:ext>
                  </a:extLst>
                </p:cNvPr>
                <p:cNvSpPr/>
                <p:nvPr/>
              </p:nvSpPr>
              <p:spPr>
                <a:xfrm>
                  <a:off x="6505577" y="2484078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16" name="Kombinationstegning: figur 15">
                  <a:extLst>
                    <a:ext uri="{FF2B5EF4-FFF2-40B4-BE49-F238E27FC236}">
                      <a16:creationId xmlns:a16="http://schemas.microsoft.com/office/drawing/2014/main" id="{1A02FAFD-7DFA-6351-D48C-6D8DC39842BC}"/>
                    </a:ext>
                  </a:extLst>
                </p:cNvPr>
                <p:cNvSpPr/>
                <p:nvPr/>
              </p:nvSpPr>
              <p:spPr>
                <a:xfrm>
                  <a:off x="7023816" y="1895600"/>
                  <a:ext cx="91440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17" name="Kombinationstegning: figur 16">
                  <a:extLst>
                    <a:ext uri="{FF2B5EF4-FFF2-40B4-BE49-F238E27FC236}">
                      <a16:creationId xmlns:a16="http://schemas.microsoft.com/office/drawing/2014/main" id="{57A9FA3E-EB71-84CF-F047-33077DAF0CF4}"/>
                    </a:ext>
                  </a:extLst>
                </p:cNvPr>
                <p:cNvSpPr/>
                <p:nvPr/>
              </p:nvSpPr>
              <p:spPr>
                <a:xfrm>
                  <a:off x="6824336" y="2026373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18" name="Kombinationstegning: figur 17">
                  <a:extLst>
                    <a:ext uri="{FF2B5EF4-FFF2-40B4-BE49-F238E27FC236}">
                      <a16:creationId xmlns:a16="http://schemas.microsoft.com/office/drawing/2014/main" id="{EA17F798-0E3B-9564-DB92-C0FB3F01619F}"/>
                    </a:ext>
                  </a:extLst>
                </p:cNvPr>
                <p:cNvSpPr/>
                <p:nvPr/>
              </p:nvSpPr>
              <p:spPr>
                <a:xfrm>
                  <a:off x="7069536" y="1895600"/>
                  <a:ext cx="637518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0"/>
                      </a:moveTo>
                      <a:lnTo>
                        <a:pt x="0" y="65386"/>
                      </a:lnTo>
                      <a:lnTo>
                        <a:pt x="637518" y="65386"/>
                      </a:lnTo>
                      <a:lnTo>
                        <a:pt x="637518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19" name="Kombinationstegning: figur 18">
                  <a:extLst>
                    <a:ext uri="{FF2B5EF4-FFF2-40B4-BE49-F238E27FC236}">
                      <a16:creationId xmlns:a16="http://schemas.microsoft.com/office/drawing/2014/main" id="{1EB3E8AB-F1C3-7F76-05B7-0A8111C08DDE}"/>
                    </a:ext>
                  </a:extLst>
                </p:cNvPr>
                <p:cNvSpPr/>
                <p:nvPr/>
              </p:nvSpPr>
              <p:spPr>
                <a:xfrm>
                  <a:off x="7461854" y="2026373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20" name="Kombinationstegning: figur 19">
                  <a:extLst>
                    <a:ext uri="{FF2B5EF4-FFF2-40B4-BE49-F238E27FC236}">
                      <a16:creationId xmlns:a16="http://schemas.microsoft.com/office/drawing/2014/main" id="{9217CF16-B68D-1D79-6DD2-D3418D7B91E7}"/>
                    </a:ext>
                  </a:extLst>
                </p:cNvPr>
                <p:cNvSpPr/>
                <p:nvPr/>
              </p:nvSpPr>
              <p:spPr>
                <a:xfrm>
                  <a:off x="7661334" y="2353305"/>
                  <a:ext cx="91440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7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21" name="Kombinationstegning: figur 20">
                  <a:extLst>
                    <a:ext uri="{FF2B5EF4-FFF2-40B4-BE49-F238E27FC236}">
                      <a16:creationId xmlns:a16="http://schemas.microsoft.com/office/drawing/2014/main" id="{5E062866-C361-671C-DE77-A2553C7BE5C7}"/>
                    </a:ext>
                  </a:extLst>
                </p:cNvPr>
                <p:cNvSpPr/>
                <p:nvPr/>
              </p:nvSpPr>
              <p:spPr>
                <a:xfrm>
                  <a:off x="7461854" y="2484078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400" kern="1200" dirty="0"/>
                    <a:t> </a:t>
                  </a:r>
                </a:p>
              </p:txBody>
            </p:sp>
            <p:sp>
              <p:nvSpPr>
                <p:cNvPr id="22" name="Kombinationstegning: figur 21">
                  <a:extLst>
                    <a:ext uri="{FF2B5EF4-FFF2-40B4-BE49-F238E27FC236}">
                      <a16:creationId xmlns:a16="http://schemas.microsoft.com/office/drawing/2014/main" id="{23C4ACD4-A439-316F-58DC-2B6B63F9CA1D}"/>
                    </a:ext>
                  </a:extLst>
                </p:cNvPr>
                <p:cNvSpPr/>
                <p:nvPr/>
              </p:nvSpPr>
              <p:spPr>
                <a:xfrm>
                  <a:off x="7661334" y="2811011"/>
                  <a:ext cx="91440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23" name="Kombinationstegning: figur 22">
                  <a:extLst>
                    <a:ext uri="{FF2B5EF4-FFF2-40B4-BE49-F238E27FC236}">
                      <a16:creationId xmlns:a16="http://schemas.microsoft.com/office/drawing/2014/main" id="{08360487-A980-E11A-6855-FD0D8C23BDF2}"/>
                    </a:ext>
                  </a:extLst>
                </p:cNvPr>
                <p:cNvSpPr/>
                <p:nvPr/>
              </p:nvSpPr>
              <p:spPr>
                <a:xfrm>
                  <a:off x="7461854" y="2941784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  <p:sp>
              <p:nvSpPr>
                <p:cNvPr id="24" name="Kombinationstegning: figur 23">
                  <a:extLst>
                    <a:ext uri="{FF2B5EF4-FFF2-40B4-BE49-F238E27FC236}">
                      <a16:creationId xmlns:a16="http://schemas.microsoft.com/office/drawing/2014/main" id="{ACE36EC8-894E-3037-22BD-EA8F6CCB3012}"/>
                    </a:ext>
                  </a:extLst>
                </p:cNvPr>
                <p:cNvSpPr/>
                <p:nvPr/>
              </p:nvSpPr>
              <p:spPr>
                <a:xfrm>
                  <a:off x="7661334" y="3268716"/>
                  <a:ext cx="91440" cy="13077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45720" y="0"/>
                      </a:moveTo>
                      <a:lnTo>
                        <a:pt x="45720" y="130772"/>
                      </a:lnTo>
                    </a:path>
                  </a:pathLst>
                </a:custGeom>
                <a:noFill/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2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da-DK"/>
                </a:p>
              </p:txBody>
            </p:sp>
            <p:sp>
              <p:nvSpPr>
                <p:cNvPr id="25" name="Kombinationstegning: figur 24">
                  <a:extLst>
                    <a:ext uri="{FF2B5EF4-FFF2-40B4-BE49-F238E27FC236}">
                      <a16:creationId xmlns:a16="http://schemas.microsoft.com/office/drawing/2014/main" id="{94DB9C94-E29D-55B7-A048-8E5817E20C58}"/>
                    </a:ext>
                  </a:extLst>
                </p:cNvPr>
                <p:cNvSpPr/>
                <p:nvPr/>
              </p:nvSpPr>
              <p:spPr>
                <a:xfrm>
                  <a:off x="7461854" y="3399489"/>
                  <a:ext cx="490398" cy="326932"/>
                </a:xfrm>
                <a:custGeom>
                  <a:avLst/>
                  <a:gdLst>
                    <a:gd name="connsiteX0" fmla="*/ 0 w 490398"/>
                    <a:gd name="connsiteY0" fmla="*/ 32693 h 326932"/>
                    <a:gd name="connsiteX1" fmla="*/ 32693 w 490398"/>
                    <a:gd name="connsiteY1" fmla="*/ 0 h 326932"/>
                    <a:gd name="connsiteX2" fmla="*/ 457705 w 490398"/>
                    <a:gd name="connsiteY2" fmla="*/ 0 h 326932"/>
                    <a:gd name="connsiteX3" fmla="*/ 490398 w 490398"/>
                    <a:gd name="connsiteY3" fmla="*/ 32693 h 326932"/>
                    <a:gd name="connsiteX4" fmla="*/ 490398 w 490398"/>
                    <a:gd name="connsiteY4" fmla="*/ 294239 h 326932"/>
                    <a:gd name="connsiteX5" fmla="*/ 457705 w 490398"/>
                    <a:gd name="connsiteY5" fmla="*/ 326932 h 326932"/>
                    <a:gd name="connsiteX6" fmla="*/ 32693 w 490398"/>
                    <a:gd name="connsiteY6" fmla="*/ 326932 h 326932"/>
                    <a:gd name="connsiteX7" fmla="*/ 0 w 490398"/>
                    <a:gd name="connsiteY7" fmla="*/ 294239 h 326932"/>
                    <a:gd name="connsiteX8" fmla="*/ 0 w 490398"/>
                    <a:gd name="connsiteY8" fmla="*/ 32693 h 326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0398" h="326932">
                      <a:moveTo>
                        <a:pt x="0" y="32693"/>
                      </a:moveTo>
                      <a:cubicBezTo>
                        <a:pt x="0" y="14637"/>
                        <a:pt x="14637" y="0"/>
                        <a:pt x="32693" y="0"/>
                      </a:cubicBezTo>
                      <a:lnTo>
                        <a:pt x="457705" y="0"/>
                      </a:lnTo>
                      <a:cubicBezTo>
                        <a:pt x="475761" y="0"/>
                        <a:pt x="490398" y="14637"/>
                        <a:pt x="490398" y="32693"/>
                      </a:cubicBezTo>
                      <a:lnTo>
                        <a:pt x="490398" y="294239"/>
                      </a:lnTo>
                      <a:cubicBezTo>
                        <a:pt x="490398" y="312295"/>
                        <a:pt x="475761" y="326932"/>
                        <a:pt x="457705" y="326932"/>
                      </a:cubicBezTo>
                      <a:lnTo>
                        <a:pt x="32693" y="326932"/>
                      </a:lnTo>
                      <a:cubicBezTo>
                        <a:pt x="14637" y="326932"/>
                        <a:pt x="0" y="312295"/>
                        <a:pt x="0" y="294239"/>
                      </a:cubicBezTo>
                      <a:lnTo>
                        <a:pt x="0" y="3269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62916" tIns="62916" rIns="62916" bIns="629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da-DK" sz="1400" kern="1200" dirty="0"/>
                </a:p>
              </p:txBody>
            </p:sp>
          </p:grpSp>
          <p:cxnSp>
            <p:nvCxnSpPr>
              <p:cNvPr id="1033" name="Lige pilforbindelse 1032">
                <a:extLst>
                  <a:ext uri="{FF2B5EF4-FFF2-40B4-BE49-F238E27FC236}">
                    <a16:creationId xmlns:a16="http://schemas.microsoft.com/office/drawing/2014/main" id="{BCB52A13-6A94-C29B-72AA-F6ACE2A0237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694539" y="2922445"/>
                <a:ext cx="312439" cy="0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27" name="Rektangel: afrundede hjørner 1026">
              <a:extLst>
                <a:ext uri="{FF2B5EF4-FFF2-40B4-BE49-F238E27FC236}">
                  <a16:creationId xmlns:a16="http://schemas.microsoft.com/office/drawing/2014/main" id="{81191FD9-FBED-CF41-1E3B-C8FA29BC7C45}"/>
                </a:ext>
              </a:extLst>
            </p:cNvPr>
            <p:cNvSpPr/>
            <p:nvPr/>
          </p:nvSpPr>
          <p:spPr>
            <a:xfrm>
              <a:off x="8790005" y="5981598"/>
              <a:ext cx="1263336" cy="326571"/>
            </a:xfrm>
            <a:prstGeom prst="roundRect">
              <a:avLst>
                <a:gd name="adj" fmla="val 0"/>
              </a:avLst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>
              <a:noAutofit/>
            </a:bodyPr>
            <a:lstStyle/>
            <a:p>
              <a:pPr algn="ctr"/>
              <a:r>
                <a:rPr lang="da-DK" sz="1200" dirty="0">
                  <a:solidFill>
                    <a:schemeClr val="tx1"/>
                  </a:solidFill>
                </a:rPr>
                <a:t>Prædiktion</a:t>
              </a:r>
              <a:endParaRPr lang="da-DK" dirty="0">
                <a:solidFill>
                  <a:schemeClr val="tx1"/>
                </a:solidFill>
              </a:endParaRPr>
            </a:p>
          </p:txBody>
        </p:sp>
        <p:cxnSp>
          <p:nvCxnSpPr>
            <p:cNvPr id="1029" name="Lige pilforbindelse 1028">
              <a:extLst>
                <a:ext uri="{FF2B5EF4-FFF2-40B4-BE49-F238E27FC236}">
                  <a16:creationId xmlns:a16="http://schemas.microsoft.com/office/drawing/2014/main" id="{6DCC2AF1-D8B2-313E-7A05-4AC7546F15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31858" y="6165851"/>
              <a:ext cx="210009" cy="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" name="Lige pilforbindelse 4">
            <a:extLst>
              <a:ext uri="{FF2B5EF4-FFF2-40B4-BE49-F238E27FC236}">
                <a16:creationId xmlns:a16="http://schemas.microsoft.com/office/drawing/2014/main" id="{BF8746F2-8AA7-8A44-E180-87959334745C}"/>
              </a:ext>
            </a:extLst>
          </p:cNvPr>
          <p:cNvCxnSpPr>
            <a:cxnSpLocks/>
          </p:cNvCxnSpPr>
          <p:nvPr/>
        </p:nvCxnSpPr>
        <p:spPr>
          <a:xfrm>
            <a:off x="10128812" y="585788"/>
            <a:ext cx="241731" cy="277418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80360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9433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4" y="1088631"/>
            <a:ext cx="5535650" cy="50772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sz="1600" b="1" dirty="0"/>
              <a:t>Gentagende Neurale Netværk </a:t>
            </a:r>
            <a:r>
              <a:rPr lang="da-DK" sz="1600" dirty="0"/>
              <a:t>(RNN)</a:t>
            </a:r>
          </a:p>
          <a:p>
            <a:pPr lvl="1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RNN er designet til at håndtere sekventielle data, da de kan huske tidligere information og bruge den til at påvirke den nuværende output-beregning.</a:t>
            </a:r>
          </a:p>
          <a:p>
            <a:pPr lvl="1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En central del af </a:t>
            </a:r>
            <a:r>
              <a:rPr lang="da-DK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RNNs</a:t>
            </a: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opbygning er de(t) gentagende lag, en form for hukommelse, hvilket giver netværket kontekst for de nuværende og fremtidige beregninger.</a:t>
            </a:r>
          </a:p>
          <a:p>
            <a:pPr lvl="1">
              <a:lnSpc>
                <a:spcPct val="100000"/>
              </a:lnSpc>
            </a:pPr>
            <a:r>
              <a:rPr lang="da-DK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RNNs</a:t>
            </a: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evne til at huske tidligere information gør dem særligt effektive til opgaver, der involverer tidsafhængig data, som forudsigelse af tidsserier.</a:t>
            </a:r>
          </a:p>
          <a:p>
            <a:pPr lvl="2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Under træning af dybe neurale netværk, bliver gradienterne (der bruges til at opdatere netværkets vægte) ofte meget små, når de føres tilbage gennem mange lag.</a:t>
            </a:r>
          </a:p>
          <a:p>
            <a:pPr lvl="3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Dette fører til, at de tidlige lag i netværket lærer meget langsomt eller slet ikke.</a:t>
            </a:r>
          </a:p>
        </p:txBody>
      </p:sp>
      <p:grpSp>
        <p:nvGrpSpPr>
          <p:cNvPr id="7" name="Gruppe 6">
            <a:extLst>
              <a:ext uri="{FF2B5EF4-FFF2-40B4-BE49-F238E27FC236}">
                <a16:creationId xmlns:a16="http://schemas.microsoft.com/office/drawing/2014/main" id="{328FB98F-8AC3-F44F-5239-531B13328752}"/>
              </a:ext>
            </a:extLst>
          </p:cNvPr>
          <p:cNvGrpSpPr/>
          <p:nvPr/>
        </p:nvGrpSpPr>
        <p:grpSpPr>
          <a:xfrm>
            <a:off x="7110621" y="1690003"/>
            <a:ext cx="4746417" cy="3477994"/>
            <a:chOff x="7110621" y="1096795"/>
            <a:chExt cx="4746417" cy="3477994"/>
          </a:xfrm>
        </p:grpSpPr>
        <p:grpSp>
          <p:nvGrpSpPr>
            <p:cNvPr id="4175" name="Gruppe 4174">
              <a:extLst>
                <a:ext uri="{FF2B5EF4-FFF2-40B4-BE49-F238E27FC236}">
                  <a16:creationId xmlns:a16="http://schemas.microsoft.com/office/drawing/2014/main" id="{B1D876A3-B5FF-C5BF-4D51-552C22A51265}"/>
                </a:ext>
              </a:extLst>
            </p:cNvPr>
            <p:cNvGrpSpPr/>
            <p:nvPr/>
          </p:nvGrpSpPr>
          <p:grpSpPr>
            <a:xfrm>
              <a:off x="7110621" y="1096795"/>
              <a:ext cx="4746417" cy="3477994"/>
              <a:chOff x="6518314" y="822380"/>
              <a:chExt cx="4746417" cy="3477994"/>
            </a:xfrm>
          </p:grpSpPr>
          <p:sp>
            <p:nvSpPr>
              <p:cNvPr id="3" name="Rutediagram: Forbindelse 2">
                <a:extLst>
                  <a:ext uri="{FF2B5EF4-FFF2-40B4-BE49-F238E27FC236}">
                    <a16:creationId xmlns:a16="http://schemas.microsoft.com/office/drawing/2014/main" id="{A607CE15-77DC-4354-D08C-49398CB5EA23}"/>
                  </a:ext>
                </a:extLst>
              </p:cNvPr>
              <p:cNvSpPr/>
              <p:nvPr/>
            </p:nvSpPr>
            <p:spPr>
              <a:xfrm>
                <a:off x="6518315" y="1445563"/>
                <a:ext cx="620485" cy="620485"/>
              </a:xfrm>
              <a:prstGeom prst="flowChartConnector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/>
              </a:p>
            </p:txBody>
          </p:sp>
          <p:sp>
            <p:nvSpPr>
              <p:cNvPr id="5" name="Rutediagram: Forbindelse 4">
                <a:extLst>
                  <a:ext uri="{FF2B5EF4-FFF2-40B4-BE49-F238E27FC236}">
                    <a16:creationId xmlns:a16="http://schemas.microsoft.com/office/drawing/2014/main" id="{C778B124-FD45-7673-0C93-685721C3053F}"/>
                  </a:ext>
                </a:extLst>
              </p:cNvPr>
              <p:cNvSpPr/>
              <p:nvPr/>
            </p:nvSpPr>
            <p:spPr>
              <a:xfrm>
                <a:off x="6518314" y="2139528"/>
                <a:ext cx="620485" cy="620485"/>
              </a:xfrm>
              <a:prstGeom prst="flowChartConnector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/>
              </a:p>
            </p:txBody>
          </p:sp>
          <p:sp>
            <p:nvSpPr>
              <p:cNvPr id="6" name="Rutediagram: Forbindelse 5">
                <a:extLst>
                  <a:ext uri="{FF2B5EF4-FFF2-40B4-BE49-F238E27FC236}">
                    <a16:creationId xmlns:a16="http://schemas.microsoft.com/office/drawing/2014/main" id="{09131AA7-1C7D-1327-8333-7208A5565FF5}"/>
                  </a:ext>
                </a:extLst>
              </p:cNvPr>
              <p:cNvSpPr/>
              <p:nvPr/>
            </p:nvSpPr>
            <p:spPr>
              <a:xfrm>
                <a:off x="6518314" y="2833493"/>
                <a:ext cx="620485" cy="620485"/>
              </a:xfrm>
              <a:prstGeom prst="flowChartConnector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/>
              </a:p>
            </p:txBody>
          </p:sp>
          <p:sp>
            <p:nvSpPr>
              <p:cNvPr id="58" name="Rutediagram: Forbindelse 57">
                <a:extLst>
                  <a:ext uri="{FF2B5EF4-FFF2-40B4-BE49-F238E27FC236}">
                    <a16:creationId xmlns:a16="http://schemas.microsoft.com/office/drawing/2014/main" id="{A7CB8557-D5CC-D00E-901E-8F8736AE5252}"/>
                  </a:ext>
                </a:extLst>
              </p:cNvPr>
              <p:cNvSpPr/>
              <p:nvPr/>
            </p:nvSpPr>
            <p:spPr>
              <a:xfrm>
                <a:off x="7723908" y="863206"/>
                <a:ext cx="620485" cy="620485"/>
              </a:xfrm>
              <a:prstGeom prst="flowChartConnector">
                <a:avLst/>
              </a:prstGeom>
              <a:solidFill>
                <a:srgbClr val="DBFAEA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/>
              </a:p>
            </p:txBody>
          </p:sp>
          <p:sp>
            <p:nvSpPr>
              <p:cNvPr id="60" name="Rutediagram: Forbindelse 59">
                <a:extLst>
                  <a:ext uri="{FF2B5EF4-FFF2-40B4-BE49-F238E27FC236}">
                    <a16:creationId xmlns:a16="http://schemas.microsoft.com/office/drawing/2014/main" id="{03D5531F-66E6-7F5D-38BC-696A82C51B86}"/>
                  </a:ext>
                </a:extLst>
              </p:cNvPr>
              <p:cNvSpPr/>
              <p:nvPr/>
            </p:nvSpPr>
            <p:spPr>
              <a:xfrm>
                <a:off x="7723907" y="1557171"/>
                <a:ext cx="620485" cy="620485"/>
              </a:xfrm>
              <a:prstGeom prst="flowChartConnector">
                <a:avLst/>
              </a:prstGeom>
              <a:solidFill>
                <a:srgbClr val="DBFAEA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61" name="Rutediagram: Forbindelse 60">
                <a:extLst>
                  <a:ext uri="{FF2B5EF4-FFF2-40B4-BE49-F238E27FC236}">
                    <a16:creationId xmlns:a16="http://schemas.microsoft.com/office/drawing/2014/main" id="{D88122D5-8A05-646A-CB00-0C5889DA2933}"/>
                  </a:ext>
                </a:extLst>
              </p:cNvPr>
              <p:cNvSpPr/>
              <p:nvPr/>
            </p:nvSpPr>
            <p:spPr>
              <a:xfrm>
                <a:off x="7723907" y="2251136"/>
                <a:ext cx="620485" cy="620485"/>
              </a:xfrm>
              <a:prstGeom prst="flowChartConnector">
                <a:avLst/>
              </a:prstGeom>
              <a:solidFill>
                <a:srgbClr val="DBFAEA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62" name="Rutediagram: Forbindelse 61">
                <a:extLst>
                  <a:ext uri="{FF2B5EF4-FFF2-40B4-BE49-F238E27FC236}">
                    <a16:creationId xmlns:a16="http://schemas.microsoft.com/office/drawing/2014/main" id="{D3662890-D53C-4C74-2AA9-FC099BA2C2AF}"/>
                  </a:ext>
                </a:extLst>
              </p:cNvPr>
              <p:cNvSpPr/>
              <p:nvPr/>
            </p:nvSpPr>
            <p:spPr>
              <a:xfrm>
                <a:off x="7723907" y="2945101"/>
                <a:ext cx="620485" cy="620485"/>
              </a:xfrm>
              <a:prstGeom prst="flowChartConnector">
                <a:avLst/>
              </a:prstGeom>
              <a:solidFill>
                <a:srgbClr val="DBFAEA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4096" name="Rutediagram: Forbindelse 4095">
                <a:extLst>
                  <a:ext uri="{FF2B5EF4-FFF2-40B4-BE49-F238E27FC236}">
                    <a16:creationId xmlns:a16="http://schemas.microsoft.com/office/drawing/2014/main" id="{984EEB3A-A3A2-348D-2255-2C95CB4D2BBB}"/>
                  </a:ext>
                </a:extLst>
              </p:cNvPr>
              <p:cNvSpPr/>
              <p:nvPr/>
            </p:nvSpPr>
            <p:spPr>
              <a:xfrm>
                <a:off x="7723907" y="3639066"/>
                <a:ext cx="620485" cy="620485"/>
              </a:xfrm>
              <a:prstGeom prst="flowChartConnector">
                <a:avLst/>
              </a:prstGeom>
              <a:solidFill>
                <a:srgbClr val="DBFAEA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4097" name="Rutediagram: Forbindelse 4096">
                <a:extLst>
                  <a:ext uri="{FF2B5EF4-FFF2-40B4-BE49-F238E27FC236}">
                    <a16:creationId xmlns:a16="http://schemas.microsoft.com/office/drawing/2014/main" id="{78C7DE56-65E2-8B99-DC50-B90DB1E8D241}"/>
                  </a:ext>
                </a:extLst>
              </p:cNvPr>
              <p:cNvSpPr/>
              <p:nvPr/>
            </p:nvSpPr>
            <p:spPr>
              <a:xfrm>
                <a:off x="9538870" y="1135320"/>
                <a:ext cx="620485" cy="620485"/>
              </a:xfrm>
              <a:prstGeom prst="flowChartConnector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 dirty="0"/>
              </a:p>
            </p:txBody>
          </p:sp>
          <p:sp>
            <p:nvSpPr>
              <p:cNvPr id="4099" name="Rutediagram: Forbindelse 4098">
                <a:extLst>
                  <a:ext uri="{FF2B5EF4-FFF2-40B4-BE49-F238E27FC236}">
                    <a16:creationId xmlns:a16="http://schemas.microsoft.com/office/drawing/2014/main" id="{79EDCB9E-7FB1-50D6-F272-9D6A738D69B6}"/>
                  </a:ext>
                </a:extLst>
              </p:cNvPr>
              <p:cNvSpPr/>
              <p:nvPr/>
            </p:nvSpPr>
            <p:spPr>
              <a:xfrm>
                <a:off x="9538869" y="1829285"/>
                <a:ext cx="620485" cy="620485"/>
              </a:xfrm>
              <a:prstGeom prst="flowChartConnector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4101" name="Rutediagram: Forbindelse 4100">
                <a:extLst>
                  <a:ext uri="{FF2B5EF4-FFF2-40B4-BE49-F238E27FC236}">
                    <a16:creationId xmlns:a16="http://schemas.microsoft.com/office/drawing/2014/main" id="{DA334387-F3D8-ACCA-AD12-31E35F0FFFBD}"/>
                  </a:ext>
                </a:extLst>
              </p:cNvPr>
              <p:cNvSpPr/>
              <p:nvPr/>
            </p:nvSpPr>
            <p:spPr>
              <a:xfrm>
                <a:off x="9538869" y="2523250"/>
                <a:ext cx="620485" cy="620485"/>
              </a:xfrm>
              <a:prstGeom prst="flowChartConnector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4102" name="Rutediagram: Forbindelse 4101">
                <a:extLst>
                  <a:ext uri="{FF2B5EF4-FFF2-40B4-BE49-F238E27FC236}">
                    <a16:creationId xmlns:a16="http://schemas.microsoft.com/office/drawing/2014/main" id="{86E56B54-873B-06B3-8F6D-DE7CE2738464}"/>
                  </a:ext>
                </a:extLst>
              </p:cNvPr>
              <p:cNvSpPr/>
              <p:nvPr/>
            </p:nvSpPr>
            <p:spPr>
              <a:xfrm>
                <a:off x="9538869" y="3217215"/>
                <a:ext cx="620485" cy="620485"/>
              </a:xfrm>
              <a:prstGeom prst="flowChartConnector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endParaRPr lang="da-DK"/>
              </a:p>
            </p:txBody>
          </p:sp>
          <p:sp>
            <p:nvSpPr>
              <p:cNvPr id="4105" name="Rutediagram: Forbindelse 4104">
                <a:extLst>
                  <a:ext uri="{FF2B5EF4-FFF2-40B4-BE49-F238E27FC236}">
                    <a16:creationId xmlns:a16="http://schemas.microsoft.com/office/drawing/2014/main" id="{4443F5BF-2166-3C9A-B08E-7BC00891EA0E}"/>
                  </a:ext>
                </a:extLst>
              </p:cNvPr>
              <p:cNvSpPr/>
              <p:nvPr/>
            </p:nvSpPr>
            <p:spPr>
              <a:xfrm>
                <a:off x="10644246" y="2166802"/>
                <a:ext cx="620485" cy="620485"/>
              </a:xfrm>
              <a:prstGeom prst="flowChartConnector">
                <a:avLst/>
              </a:prstGeom>
              <a:solidFill>
                <a:schemeClr val="accent5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>
                <a:noAutofit/>
              </a:bodyPr>
              <a:lstStyle/>
              <a:p>
                <a:pPr algn="l"/>
                <a:endParaRPr lang="da-DK"/>
              </a:p>
            </p:txBody>
          </p:sp>
          <p:cxnSp>
            <p:nvCxnSpPr>
              <p:cNvPr id="4109" name="Forbindelse: buet 4108">
                <a:extLst>
                  <a:ext uri="{FF2B5EF4-FFF2-40B4-BE49-F238E27FC236}">
                    <a16:creationId xmlns:a16="http://schemas.microsoft.com/office/drawing/2014/main" id="{C2C630C7-EEBE-EB53-4DCD-9A327B90B646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V="1">
                <a:off x="8805575" y="50956"/>
                <a:ext cx="272114" cy="1814962"/>
              </a:xfrm>
              <a:prstGeom prst="curvedConnector3">
                <a:avLst>
                  <a:gd name="adj1" fmla="val 247016"/>
                </a:avLst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11" name="Forbindelse: buet 4110">
                <a:extLst>
                  <a:ext uri="{FF2B5EF4-FFF2-40B4-BE49-F238E27FC236}">
                    <a16:creationId xmlns:a16="http://schemas.microsoft.com/office/drawing/2014/main" id="{DFC816DE-7666-4A1C-8FC7-44FEA168B3F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8730706" y="3181968"/>
                <a:ext cx="421851" cy="1814962"/>
              </a:xfrm>
              <a:prstGeom prst="curvedConnector3">
                <a:avLst>
                  <a:gd name="adj1" fmla="val 154190"/>
                </a:avLst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15" name="Lige pilforbindelse 4114">
                <a:extLst>
                  <a:ext uri="{FF2B5EF4-FFF2-40B4-BE49-F238E27FC236}">
                    <a16:creationId xmlns:a16="http://schemas.microsoft.com/office/drawing/2014/main" id="{BFC91DBC-CB57-E0B6-022E-50C43A74520B}"/>
                  </a:ext>
                </a:extLst>
              </p:cNvPr>
              <p:cNvCxnSpPr>
                <a:stCxn id="6" idx="6"/>
                <a:endCxn id="58" idx="2"/>
              </p:cNvCxnSpPr>
              <p:nvPr/>
            </p:nvCxnSpPr>
            <p:spPr>
              <a:xfrm flipV="1">
                <a:off x="7138799" y="1173449"/>
                <a:ext cx="585109" cy="1970287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17" name="Lige pilforbindelse 4116">
                <a:extLst>
                  <a:ext uri="{FF2B5EF4-FFF2-40B4-BE49-F238E27FC236}">
                    <a16:creationId xmlns:a16="http://schemas.microsoft.com/office/drawing/2014/main" id="{EBFBF3E2-226D-46D0-F1C7-BA8356ADBC18}"/>
                  </a:ext>
                </a:extLst>
              </p:cNvPr>
              <p:cNvCxnSpPr>
                <a:stCxn id="6" idx="6"/>
                <a:endCxn id="60" idx="2"/>
              </p:cNvCxnSpPr>
              <p:nvPr/>
            </p:nvCxnSpPr>
            <p:spPr>
              <a:xfrm flipV="1">
                <a:off x="7138799" y="1867414"/>
                <a:ext cx="585108" cy="1276322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18" name="Lige pilforbindelse 4117">
                <a:extLst>
                  <a:ext uri="{FF2B5EF4-FFF2-40B4-BE49-F238E27FC236}">
                    <a16:creationId xmlns:a16="http://schemas.microsoft.com/office/drawing/2014/main" id="{806B13BC-1401-6160-66DF-61B9E4EA8CCE}"/>
                  </a:ext>
                </a:extLst>
              </p:cNvPr>
              <p:cNvCxnSpPr>
                <a:cxnSpLocks/>
                <a:stCxn id="6" idx="6"/>
                <a:endCxn id="61" idx="2"/>
              </p:cNvCxnSpPr>
              <p:nvPr/>
            </p:nvCxnSpPr>
            <p:spPr>
              <a:xfrm flipV="1">
                <a:off x="7138799" y="2561379"/>
                <a:ext cx="585108" cy="582357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1" name="Lige pilforbindelse 4120">
                <a:extLst>
                  <a:ext uri="{FF2B5EF4-FFF2-40B4-BE49-F238E27FC236}">
                    <a16:creationId xmlns:a16="http://schemas.microsoft.com/office/drawing/2014/main" id="{EB34D3D3-DAF9-75A8-E85F-BE9E3E5C8748}"/>
                  </a:ext>
                </a:extLst>
              </p:cNvPr>
              <p:cNvCxnSpPr>
                <a:cxnSpLocks/>
                <a:stCxn id="6" idx="6"/>
                <a:endCxn id="62" idx="2"/>
              </p:cNvCxnSpPr>
              <p:nvPr/>
            </p:nvCxnSpPr>
            <p:spPr>
              <a:xfrm>
                <a:off x="7138799" y="3143736"/>
                <a:ext cx="585108" cy="11160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4" name="Lige pilforbindelse 4123">
                <a:extLst>
                  <a:ext uri="{FF2B5EF4-FFF2-40B4-BE49-F238E27FC236}">
                    <a16:creationId xmlns:a16="http://schemas.microsoft.com/office/drawing/2014/main" id="{0A00111E-F12A-53B8-322B-E47B40F9354B}"/>
                  </a:ext>
                </a:extLst>
              </p:cNvPr>
              <p:cNvCxnSpPr>
                <a:cxnSpLocks/>
                <a:stCxn id="6" idx="6"/>
                <a:endCxn id="4096" idx="2"/>
              </p:cNvCxnSpPr>
              <p:nvPr/>
            </p:nvCxnSpPr>
            <p:spPr>
              <a:xfrm>
                <a:off x="7138799" y="3143736"/>
                <a:ext cx="585108" cy="805573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7" name="Lige pilforbindelse 4126">
                <a:extLst>
                  <a:ext uri="{FF2B5EF4-FFF2-40B4-BE49-F238E27FC236}">
                    <a16:creationId xmlns:a16="http://schemas.microsoft.com/office/drawing/2014/main" id="{71EB20B9-1874-EBAA-F10D-BAC0854779F3}"/>
                  </a:ext>
                </a:extLst>
              </p:cNvPr>
              <p:cNvCxnSpPr>
                <a:cxnSpLocks/>
                <a:stCxn id="5" idx="6"/>
                <a:endCxn id="4096" idx="2"/>
              </p:cNvCxnSpPr>
              <p:nvPr/>
            </p:nvCxnSpPr>
            <p:spPr>
              <a:xfrm>
                <a:off x="7138799" y="2449771"/>
                <a:ext cx="585108" cy="149953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0" name="Lige pilforbindelse 4129">
                <a:extLst>
                  <a:ext uri="{FF2B5EF4-FFF2-40B4-BE49-F238E27FC236}">
                    <a16:creationId xmlns:a16="http://schemas.microsoft.com/office/drawing/2014/main" id="{BCAAF416-454D-B902-17E8-A4EFEBD65BCB}"/>
                  </a:ext>
                </a:extLst>
              </p:cNvPr>
              <p:cNvCxnSpPr>
                <a:cxnSpLocks/>
                <a:stCxn id="5" idx="6"/>
                <a:endCxn id="62" idx="2"/>
              </p:cNvCxnSpPr>
              <p:nvPr/>
            </p:nvCxnSpPr>
            <p:spPr>
              <a:xfrm>
                <a:off x="7138799" y="2449771"/>
                <a:ext cx="585108" cy="805573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3" name="Lige pilforbindelse 4132">
                <a:extLst>
                  <a:ext uri="{FF2B5EF4-FFF2-40B4-BE49-F238E27FC236}">
                    <a16:creationId xmlns:a16="http://schemas.microsoft.com/office/drawing/2014/main" id="{DA98E6D9-BF81-3AC8-DF3A-C3FDC4FA91DB}"/>
                  </a:ext>
                </a:extLst>
              </p:cNvPr>
              <p:cNvCxnSpPr>
                <a:cxnSpLocks/>
                <a:stCxn id="5" idx="6"/>
                <a:endCxn id="61" idx="2"/>
              </p:cNvCxnSpPr>
              <p:nvPr/>
            </p:nvCxnSpPr>
            <p:spPr>
              <a:xfrm>
                <a:off x="7138799" y="2449771"/>
                <a:ext cx="585108" cy="11160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6" name="Lige pilforbindelse 4135">
                <a:extLst>
                  <a:ext uri="{FF2B5EF4-FFF2-40B4-BE49-F238E27FC236}">
                    <a16:creationId xmlns:a16="http://schemas.microsoft.com/office/drawing/2014/main" id="{629D6E8C-1F88-7D71-4F69-C592E6672635}"/>
                  </a:ext>
                </a:extLst>
              </p:cNvPr>
              <p:cNvCxnSpPr>
                <a:cxnSpLocks/>
                <a:stCxn id="5" idx="6"/>
                <a:endCxn id="60" idx="2"/>
              </p:cNvCxnSpPr>
              <p:nvPr/>
            </p:nvCxnSpPr>
            <p:spPr>
              <a:xfrm flipV="1">
                <a:off x="7138799" y="1867414"/>
                <a:ext cx="585108" cy="582357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9" name="Lige pilforbindelse 4138">
                <a:extLst>
                  <a:ext uri="{FF2B5EF4-FFF2-40B4-BE49-F238E27FC236}">
                    <a16:creationId xmlns:a16="http://schemas.microsoft.com/office/drawing/2014/main" id="{A2AE075B-DFCE-4540-CF5B-086B7D612C5E}"/>
                  </a:ext>
                </a:extLst>
              </p:cNvPr>
              <p:cNvCxnSpPr>
                <a:cxnSpLocks/>
                <a:stCxn id="5" idx="6"/>
                <a:endCxn id="58" idx="2"/>
              </p:cNvCxnSpPr>
              <p:nvPr/>
            </p:nvCxnSpPr>
            <p:spPr>
              <a:xfrm flipV="1">
                <a:off x="7138799" y="1173449"/>
                <a:ext cx="585109" cy="1276322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42" name="Lige pilforbindelse 4141">
                <a:extLst>
                  <a:ext uri="{FF2B5EF4-FFF2-40B4-BE49-F238E27FC236}">
                    <a16:creationId xmlns:a16="http://schemas.microsoft.com/office/drawing/2014/main" id="{B5934D66-D245-C8F8-D6FB-B28981102636}"/>
                  </a:ext>
                </a:extLst>
              </p:cNvPr>
              <p:cNvCxnSpPr>
                <a:cxnSpLocks/>
                <a:stCxn id="3" idx="6"/>
                <a:endCxn id="58" idx="2"/>
              </p:cNvCxnSpPr>
              <p:nvPr/>
            </p:nvCxnSpPr>
            <p:spPr>
              <a:xfrm flipV="1">
                <a:off x="7138800" y="1173449"/>
                <a:ext cx="585108" cy="582357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45" name="Lige pilforbindelse 4144">
                <a:extLst>
                  <a:ext uri="{FF2B5EF4-FFF2-40B4-BE49-F238E27FC236}">
                    <a16:creationId xmlns:a16="http://schemas.microsoft.com/office/drawing/2014/main" id="{1C0D4153-50E3-8B9A-398D-D443BFD0AFB2}"/>
                  </a:ext>
                </a:extLst>
              </p:cNvPr>
              <p:cNvCxnSpPr>
                <a:cxnSpLocks/>
                <a:stCxn id="3" idx="6"/>
                <a:endCxn id="60" idx="2"/>
              </p:cNvCxnSpPr>
              <p:nvPr/>
            </p:nvCxnSpPr>
            <p:spPr>
              <a:xfrm>
                <a:off x="7138800" y="1755806"/>
                <a:ext cx="585107" cy="11160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48" name="Lige pilforbindelse 4147">
                <a:extLst>
                  <a:ext uri="{FF2B5EF4-FFF2-40B4-BE49-F238E27FC236}">
                    <a16:creationId xmlns:a16="http://schemas.microsoft.com/office/drawing/2014/main" id="{7B7B2328-74F8-3FDE-4DC9-9E98B635A970}"/>
                  </a:ext>
                </a:extLst>
              </p:cNvPr>
              <p:cNvCxnSpPr>
                <a:cxnSpLocks/>
                <a:stCxn id="3" idx="6"/>
                <a:endCxn id="61" idx="2"/>
              </p:cNvCxnSpPr>
              <p:nvPr/>
            </p:nvCxnSpPr>
            <p:spPr>
              <a:xfrm>
                <a:off x="7138800" y="1755806"/>
                <a:ext cx="585107" cy="805573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1" name="Lige pilforbindelse 4150">
                <a:extLst>
                  <a:ext uri="{FF2B5EF4-FFF2-40B4-BE49-F238E27FC236}">
                    <a16:creationId xmlns:a16="http://schemas.microsoft.com/office/drawing/2014/main" id="{BA360F60-5FD4-6242-F538-F5769FAC881F}"/>
                  </a:ext>
                </a:extLst>
              </p:cNvPr>
              <p:cNvCxnSpPr>
                <a:cxnSpLocks/>
                <a:stCxn id="3" idx="6"/>
                <a:endCxn id="62" idx="2"/>
              </p:cNvCxnSpPr>
              <p:nvPr/>
            </p:nvCxnSpPr>
            <p:spPr>
              <a:xfrm>
                <a:off x="7138800" y="1755806"/>
                <a:ext cx="585107" cy="149953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4" name="Lige pilforbindelse 4153">
                <a:extLst>
                  <a:ext uri="{FF2B5EF4-FFF2-40B4-BE49-F238E27FC236}">
                    <a16:creationId xmlns:a16="http://schemas.microsoft.com/office/drawing/2014/main" id="{C245C473-7039-34D8-2553-A4A42DC3CA02}"/>
                  </a:ext>
                </a:extLst>
              </p:cNvPr>
              <p:cNvCxnSpPr>
                <a:cxnSpLocks/>
                <a:stCxn id="3" idx="6"/>
                <a:endCxn id="4096" idx="2"/>
              </p:cNvCxnSpPr>
              <p:nvPr/>
            </p:nvCxnSpPr>
            <p:spPr>
              <a:xfrm>
                <a:off x="7138800" y="1755806"/>
                <a:ext cx="585107" cy="2193503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7" name="Lige pilforbindelse 4156">
                <a:extLst>
                  <a:ext uri="{FF2B5EF4-FFF2-40B4-BE49-F238E27FC236}">
                    <a16:creationId xmlns:a16="http://schemas.microsoft.com/office/drawing/2014/main" id="{B159B682-81C2-EB32-7FAF-BC4965328331}"/>
                  </a:ext>
                </a:extLst>
              </p:cNvPr>
              <p:cNvCxnSpPr>
                <a:cxnSpLocks/>
                <a:stCxn id="58" idx="6"/>
                <a:endCxn id="4097" idx="2"/>
              </p:cNvCxnSpPr>
              <p:nvPr/>
            </p:nvCxnSpPr>
            <p:spPr>
              <a:xfrm>
                <a:off x="8344393" y="1173449"/>
                <a:ext cx="1194477" cy="27211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4" name="Lige pilforbindelse 1033">
                <a:extLst>
                  <a:ext uri="{FF2B5EF4-FFF2-40B4-BE49-F238E27FC236}">
                    <a16:creationId xmlns:a16="http://schemas.microsoft.com/office/drawing/2014/main" id="{B28775F9-FBDE-0CD1-F68E-4F60E909E542}"/>
                  </a:ext>
                </a:extLst>
              </p:cNvPr>
              <p:cNvCxnSpPr>
                <a:cxnSpLocks/>
                <a:stCxn id="58" idx="6"/>
                <a:endCxn id="4099" idx="2"/>
              </p:cNvCxnSpPr>
              <p:nvPr/>
            </p:nvCxnSpPr>
            <p:spPr>
              <a:xfrm>
                <a:off x="8344393" y="1173449"/>
                <a:ext cx="1194476" cy="966079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8" name="Lige pilforbindelse 1037">
                <a:extLst>
                  <a:ext uri="{FF2B5EF4-FFF2-40B4-BE49-F238E27FC236}">
                    <a16:creationId xmlns:a16="http://schemas.microsoft.com/office/drawing/2014/main" id="{D5FC52CE-963D-07BB-EEFB-55797134643D}"/>
                  </a:ext>
                </a:extLst>
              </p:cNvPr>
              <p:cNvCxnSpPr>
                <a:cxnSpLocks/>
                <a:stCxn id="58" idx="6"/>
                <a:endCxn id="4101" idx="2"/>
              </p:cNvCxnSpPr>
              <p:nvPr/>
            </p:nvCxnSpPr>
            <p:spPr>
              <a:xfrm>
                <a:off x="8344393" y="1173449"/>
                <a:ext cx="1194476" cy="166004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1" name="Lige pilforbindelse 1040">
                <a:extLst>
                  <a:ext uri="{FF2B5EF4-FFF2-40B4-BE49-F238E27FC236}">
                    <a16:creationId xmlns:a16="http://schemas.microsoft.com/office/drawing/2014/main" id="{C3176485-ED9B-46AE-5F12-BFF59E940C8C}"/>
                  </a:ext>
                </a:extLst>
              </p:cNvPr>
              <p:cNvCxnSpPr>
                <a:cxnSpLocks/>
                <a:stCxn id="58" idx="6"/>
                <a:endCxn id="4102" idx="2"/>
              </p:cNvCxnSpPr>
              <p:nvPr/>
            </p:nvCxnSpPr>
            <p:spPr>
              <a:xfrm>
                <a:off x="8344393" y="1173449"/>
                <a:ext cx="1194476" cy="2354009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4" name="Lige pilforbindelse 1043">
                <a:extLst>
                  <a:ext uri="{FF2B5EF4-FFF2-40B4-BE49-F238E27FC236}">
                    <a16:creationId xmlns:a16="http://schemas.microsoft.com/office/drawing/2014/main" id="{4F50795E-4836-0FF2-2A71-5F7619EE33C5}"/>
                  </a:ext>
                </a:extLst>
              </p:cNvPr>
              <p:cNvCxnSpPr>
                <a:cxnSpLocks/>
                <a:stCxn id="60" idx="6"/>
                <a:endCxn id="4097" idx="2"/>
              </p:cNvCxnSpPr>
              <p:nvPr/>
            </p:nvCxnSpPr>
            <p:spPr>
              <a:xfrm flipV="1">
                <a:off x="8344392" y="1445563"/>
                <a:ext cx="1194478" cy="421851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7" name="Lige pilforbindelse 1046">
                <a:extLst>
                  <a:ext uri="{FF2B5EF4-FFF2-40B4-BE49-F238E27FC236}">
                    <a16:creationId xmlns:a16="http://schemas.microsoft.com/office/drawing/2014/main" id="{0D41BDDD-E199-FE0B-AA90-279D385DF294}"/>
                  </a:ext>
                </a:extLst>
              </p:cNvPr>
              <p:cNvCxnSpPr>
                <a:cxnSpLocks/>
                <a:stCxn id="60" idx="6"/>
                <a:endCxn id="4099" idx="2"/>
              </p:cNvCxnSpPr>
              <p:nvPr/>
            </p:nvCxnSpPr>
            <p:spPr>
              <a:xfrm>
                <a:off x="8344392" y="1867414"/>
                <a:ext cx="1194477" cy="27211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0" name="Lige pilforbindelse 1049">
                <a:extLst>
                  <a:ext uri="{FF2B5EF4-FFF2-40B4-BE49-F238E27FC236}">
                    <a16:creationId xmlns:a16="http://schemas.microsoft.com/office/drawing/2014/main" id="{6EB7D650-548E-6D08-76BF-12DDEE3F1178}"/>
                  </a:ext>
                </a:extLst>
              </p:cNvPr>
              <p:cNvCxnSpPr>
                <a:cxnSpLocks/>
                <a:stCxn id="60" idx="6"/>
                <a:endCxn id="4101" idx="2"/>
              </p:cNvCxnSpPr>
              <p:nvPr/>
            </p:nvCxnSpPr>
            <p:spPr>
              <a:xfrm>
                <a:off x="8344392" y="1867414"/>
                <a:ext cx="1194477" cy="966079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3" name="Lige pilforbindelse 1052">
                <a:extLst>
                  <a:ext uri="{FF2B5EF4-FFF2-40B4-BE49-F238E27FC236}">
                    <a16:creationId xmlns:a16="http://schemas.microsoft.com/office/drawing/2014/main" id="{0B7759C5-E572-2019-20D4-3EFDF38B3CB2}"/>
                  </a:ext>
                </a:extLst>
              </p:cNvPr>
              <p:cNvCxnSpPr>
                <a:cxnSpLocks/>
                <a:stCxn id="60" idx="6"/>
                <a:endCxn id="4102" idx="2"/>
              </p:cNvCxnSpPr>
              <p:nvPr/>
            </p:nvCxnSpPr>
            <p:spPr>
              <a:xfrm>
                <a:off x="8344392" y="1867414"/>
                <a:ext cx="1194477" cy="166004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6" name="Lige pilforbindelse 1055">
                <a:extLst>
                  <a:ext uri="{FF2B5EF4-FFF2-40B4-BE49-F238E27FC236}">
                    <a16:creationId xmlns:a16="http://schemas.microsoft.com/office/drawing/2014/main" id="{729FD94C-0A2F-D8BF-9F6E-378A3F876BFB}"/>
                  </a:ext>
                </a:extLst>
              </p:cNvPr>
              <p:cNvCxnSpPr>
                <a:cxnSpLocks/>
                <a:stCxn id="61" idx="6"/>
                <a:endCxn id="4097" idx="2"/>
              </p:cNvCxnSpPr>
              <p:nvPr/>
            </p:nvCxnSpPr>
            <p:spPr>
              <a:xfrm flipV="1">
                <a:off x="8344392" y="1445563"/>
                <a:ext cx="1194478" cy="1115816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9" name="Lige pilforbindelse 1058">
                <a:extLst>
                  <a:ext uri="{FF2B5EF4-FFF2-40B4-BE49-F238E27FC236}">
                    <a16:creationId xmlns:a16="http://schemas.microsoft.com/office/drawing/2014/main" id="{5E56696A-9574-4F56-F78A-705F150483F0}"/>
                  </a:ext>
                </a:extLst>
              </p:cNvPr>
              <p:cNvCxnSpPr>
                <a:cxnSpLocks/>
                <a:stCxn id="61" idx="6"/>
                <a:endCxn id="4099" idx="2"/>
              </p:cNvCxnSpPr>
              <p:nvPr/>
            </p:nvCxnSpPr>
            <p:spPr>
              <a:xfrm flipV="1">
                <a:off x="8344392" y="2139528"/>
                <a:ext cx="1194477" cy="421851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2" name="Lige pilforbindelse 1061">
                <a:extLst>
                  <a:ext uri="{FF2B5EF4-FFF2-40B4-BE49-F238E27FC236}">
                    <a16:creationId xmlns:a16="http://schemas.microsoft.com/office/drawing/2014/main" id="{4370AB39-C77F-5495-0392-F64E3AEB3D4E}"/>
                  </a:ext>
                </a:extLst>
              </p:cNvPr>
              <p:cNvCxnSpPr>
                <a:cxnSpLocks/>
                <a:stCxn id="61" idx="6"/>
                <a:endCxn id="4101" idx="2"/>
              </p:cNvCxnSpPr>
              <p:nvPr/>
            </p:nvCxnSpPr>
            <p:spPr>
              <a:xfrm>
                <a:off x="8344392" y="2561379"/>
                <a:ext cx="1194477" cy="27211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5" name="Lige pilforbindelse 1064">
                <a:extLst>
                  <a:ext uri="{FF2B5EF4-FFF2-40B4-BE49-F238E27FC236}">
                    <a16:creationId xmlns:a16="http://schemas.microsoft.com/office/drawing/2014/main" id="{B58338FA-FC22-D539-8AF9-2F5AD0D88296}"/>
                  </a:ext>
                </a:extLst>
              </p:cNvPr>
              <p:cNvCxnSpPr>
                <a:cxnSpLocks/>
                <a:stCxn id="61" idx="6"/>
                <a:endCxn id="4102" idx="2"/>
              </p:cNvCxnSpPr>
              <p:nvPr/>
            </p:nvCxnSpPr>
            <p:spPr>
              <a:xfrm>
                <a:off x="8344392" y="2561379"/>
                <a:ext cx="1194477" cy="966079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8" name="Lige pilforbindelse 1067">
                <a:extLst>
                  <a:ext uri="{FF2B5EF4-FFF2-40B4-BE49-F238E27FC236}">
                    <a16:creationId xmlns:a16="http://schemas.microsoft.com/office/drawing/2014/main" id="{1B6CE581-163F-7E60-AE9D-21130ADAA96E}"/>
                  </a:ext>
                </a:extLst>
              </p:cNvPr>
              <p:cNvCxnSpPr>
                <a:cxnSpLocks/>
                <a:stCxn id="62" idx="6"/>
                <a:endCxn id="4097" idx="2"/>
              </p:cNvCxnSpPr>
              <p:nvPr/>
            </p:nvCxnSpPr>
            <p:spPr>
              <a:xfrm flipV="1">
                <a:off x="8344392" y="1445563"/>
                <a:ext cx="1194478" cy="1809781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1" name="Lige pilforbindelse 1070">
                <a:extLst>
                  <a:ext uri="{FF2B5EF4-FFF2-40B4-BE49-F238E27FC236}">
                    <a16:creationId xmlns:a16="http://schemas.microsoft.com/office/drawing/2014/main" id="{BB3156BF-67DD-2DE2-8AF0-4253C52D85C0}"/>
                  </a:ext>
                </a:extLst>
              </p:cNvPr>
              <p:cNvCxnSpPr>
                <a:cxnSpLocks/>
                <a:stCxn id="62" idx="6"/>
                <a:endCxn id="4099" idx="2"/>
              </p:cNvCxnSpPr>
              <p:nvPr/>
            </p:nvCxnSpPr>
            <p:spPr>
              <a:xfrm flipV="1">
                <a:off x="8344392" y="2139528"/>
                <a:ext cx="1194477" cy="1115816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4" name="Lige pilforbindelse 1073">
                <a:extLst>
                  <a:ext uri="{FF2B5EF4-FFF2-40B4-BE49-F238E27FC236}">
                    <a16:creationId xmlns:a16="http://schemas.microsoft.com/office/drawing/2014/main" id="{8A78C38F-CB23-3454-2E2E-FFCD69CE8930}"/>
                  </a:ext>
                </a:extLst>
              </p:cNvPr>
              <p:cNvCxnSpPr>
                <a:cxnSpLocks/>
                <a:stCxn id="62" idx="6"/>
                <a:endCxn id="4101" idx="2"/>
              </p:cNvCxnSpPr>
              <p:nvPr/>
            </p:nvCxnSpPr>
            <p:spPr>
              <a:xfrm flipV="1">
                <a:off x="8344392" y="2833493"/>
                <a:ext cx="1194477" cy="421851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7" name="Lige pilforbindelse 1076">
                <a:extLst>
                  <a:ext uri="{FF2B5EF4-FFF2-40B4-BE49-F238E27FC236}">
                    <a16:creationId xmlns:a16="http://schemas.microsoft.com/office/drawing/2014/main" id="{B39BF03A-F962-5CC4-8332-26A76B6E921E}"/>
                  </a:ext>
                </a:extLst>
              </p:cNvPr>
              <p:cNvCxnSpPr>
                <a:cxnSpLocks/>
                <a:stCxn id="62" idx="6"/>
                <a:endCxn id="4102" idx="2"/>
              </p:cNvCxnSpPr>
              <p:nvPr/>
            </p:nvCxnSpPr>
            <p:spPr>
              <a:xfrm>
                <a:off x="8344392" y="3255344"/>
                <a:ext cx="1194477" cy="272114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0" name="Lige pilforbindelse 1079">
                <a:extLst>
                  <a:ext uri="{FF2B5EF4-FFF2-40B4-BE49-F238E27FC236}">
                    <a16:creationId xmlns:a16="http://schemas.microsoft.com/office/drawing/2014/main" id="{453E5831-8989-FA51-461D-7F2D2C6B3812}"/>
                  </a:ext>
                </a:extLst>
              </p:cNvPr>
              <p:cNvCxnSpPr>
                <a:cxnSpLocks/>
                <a:stCxn id="4096" idx="6"/>
                <a:endCxn id="4097" idx="2"/>
              </p:cNvCxnSpPr>
              <p:nvPr/>
            </p:nvCxnSpPr>
            <p:spPr>
              <a:xfrm flipV="1">
                <a:off x="8344392" y="1445563"/>
                <a:ext cx="1194478" cy="2503746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3" name="Lige pilforbindelse 1082">
                <a:extLst>
                  <a:ext uri="{FF2B5EF4-FFF2-40B4-BE49-F238E27FC236}">
                    <a16:creationId xmlns:a16="http://schemas.microsoft.com/office/drawing/2014/main" id="{C3A6B35B-264E-4B66-91F2-110AA1D69002}"/>
                  </a:ext>
                </a:extLst>
              </p:cNvPr>
              <p:cNvCxnSpPr>
                <a:cxnSpLocks/>
                <a:stCxn id="4096" idx="6"/>
                <a:endCxn id="4099" idx="2"/>
              </p:cNvCxnSpPr>
              <p:nvPr/>
            </p:nvCxnSpPr>
            <p:spPr>
              <a:xfrm flipV="1">
                <a:off x="8344392" y="2139528"/>
                <a:ext cx="1194477" cy="1809781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6" name="Lige pilforbindelse 1085">
                <a:extLst>
                  <a:ext uri="{FF2B5EF4-FFF2-40B4-BE49-F238E27FC236}">
                    <a16:creationId xmlns:a16="http://schemas.microsoft.com/office/drawing/2014/main" id="{2E2D6B4D-6166-9762-B127-24063FF15842}"/>
                  </a:ext>
                </a:extLst>
              </p:cNvPr>
              <p:cNvCxnSpPr>
                <a:cxnSpLocks/>
                <a:stCxn id="4096" idx="6"/>
                <a:endCxn id="4101" idx="2"/>
              </p:cNvCxnSpPr>
              <p:nvPr/>
            </p:nvCxnSpPr>
            <p:spPr>
              <a:xfrm flipV="1">
                <a:off x="8344392" y="2833493"/>
                <a:ext cx="1194477" cy="1115816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1" name="Lige pilforbindelse 4160">
                <a:extLst>
                  <a:ext uri="{FF2B5EF4-FFF2-40B4-BE49-F238E27FC236}">
                    <a16:creationId xmlns:a16="http://schemas.microsoft.com/office/drawing/2014/main" id="{84B1D81B-1071-1E61-92F5-EEDD0534ECDA}"/>
                  </a:ext>
                </a:extLst>
              </p:cNvPr>
              <p:cNvCxnSpPr>
                <a:cxnSpLocks/>
                <a:stCxn id="4102" idx="6"/>
                <a:endCxn id="4105" idx="2"/>
              </p:cNvCxnSpPr>
              <p:nvPr/>
            </p:nvCxnSpPr>
            <p:spPr>
              <a:xfrm flipV="1">
                <a:off x="10159354" y="2477045"/>
                <a:ext cx="484892" cy="1050413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6" name="Lige pilforbindelse 4165">
                <a:extLst>
                  <a:ext uri="{FF2B5EF4-FFF2-40B4-BE49-F238E27FC236}">
                    <a16:creationId xmlns:a16="http://schemas.microsoft.com/office/drawing/2014/main" id="{11EA3A96-37A6-D944-7220-E11063933CC6}"/>
                  </a:ext>
                </a:extLst>
              </p:cNvPr>
              <p:cNvCxnSpPr>
                <a:cxnSpLocks/>
                <a:stCxn id="4101" idx="6"/>
                <a:endCxn id="4105" idx="2"/>
              </p:cNvCxnSpPr>
              <p:nvPr/>
            </p:nvCxnSpPr>
            <p:spPr>
              <a:xfrm flipV="1">
                <a:off x="10159354" y="2477045"/>
                <a:ext cx="484892" cy="356448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9" name="Lige pilforbindelse 4168">
                <a:extLst>
                  <a:ext uri="{FF2B5EF4-FFF2-40B4-BE49-F238E27FC236}">
                    <a16:creationId xmlns:a16="http://schemas.microsoft.com/office/drawing/2014/main" id="{336F7F8F-6C8A-0CA6-2060-7D4F4F8A6623}"/>
                  </a:ext>
                </a:extLst>
              </p:cNvPr>
              <p:cNvCxnSpPr>
                <a:cxnSpLocks/>
                <a:stCxn id="4099" idx="6"/>
                <a:endCxn id="4105" idx="2"/>
              </p:cNvCxnSpPr>
              <p:nvPr/>
            </p:nvCxnSpPr>
            <p:spPr>
              <a:xfrm>
                <a:off x="10159354" y="2139528"/>
                <a:ext cx="484892" cy="337517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71" name="Lige pilforbindelse 4170">
                <a:extLst>
                  <a:ext uri="{FF2B5EF4-FFF2-40B4-BE49-F238E27FC236}">
                    <a16:creationId xmlns:a16="http://schemas.microsoft.com/office/drawing/2014/main" id="{C7136E3C-5730-71CE-AD8A-1D5A4A636971}"/>
                  </a:ext>
                </a:extLst>
              </p:cNvPr>
              <p:cNvCxnSpPr>
                <a:cxnSpLocks/>
                <a:stCxn id="4097" idx="6"/>
                <a:endCxn id="4105" idx="2"/>
              </p:cNvCxnSpPr>
              <p:nvPr/>
            </p:nvCxnSpPr>
            <p:spPr>
              <a:xfrm>
                <a:off x="10159355" y="1445563"/>
                <a:ext cx="484891" cy="1031482"/>
              </a:xfrm>
              <a:prstGeom prst="straightConnector1">
                <a:avLst/>
              </a:prstGeom>
              <a:ln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179" name="Rektangel: afrundede hjørner 4178">
              <a:extLst>
                <a:ext uri="{FF2B5EF4-FFF2-40B4-BE49-F238E27FC236}">
                  <a16:creationId xmlns:a16="http://schemas.microsoft.com/office/drawing/2014/main" id="{0D291FA4-FC86-409E-F33C-662657141839}"/>
                </a:ext>
              </a:extLst>
            </p:cNvPr>
            <p:cNvSpPr/>
            <p:nvPr/>
          </p:nvSpPr>
          <p:spPr>
            <a:xfrm rot="5400000">
              <a:off x="10926490" y="2560900"/>
              <a:ext cx="1263336" cy="326571"/>
            </a:xfrm>
            <a:prstGeom prst="roundRect">
              <a:avLst>
                <a:gd name="adj" fmla="val 0"/>
              </a:avLst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>
              <a:noAutofit/>
            </a:bodyPr>
            <a:lstStyle/>
            <a:p>
              <a:pPr algn="ctr"/>
              <a:r>
                <a:rPr lang="da-DK" sz="1200" dirty="0">
                  <a:solidFill>
                    <a:schemeClr val="tx1"/>
                  </a:solidFill>
                </a:rPr>
                <a:t>Prædiktion</a:t>
              </a:r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4180" name="Rektangel: afrundede hjørner 4179">
              <a:extLst>
                <a:ext uri="{FF2B5EF4-FFF2-40B4-BE49-F238E27FC236}">
                  <a16:creationId xmlns:a16="http://schemas.microsoft.com/office/drawing/2014/main" id="{58CC0207-DCD9-317C-F2D4-4326B7C57890}"/>
                </a:ext>
              </a:extLst>
            </p:cNvPr>
            <p:cNvSpPr/>
            <p:nvPr/>
          </p:nvSpPr>
          <p:spPr>
            <a:xfrm rot="5400000">
              <a:off x="6926924" y="2587993"/>
              <a:ext cx="987878" cy="326932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>
              <a:noAutofit/>
            </a:bodyPr>
            <a:lstStyle/>
            <a:p>
              <a:pPr algn="ctr"/>
              <a:r>
                <a:rPr lang="da-DK" sz="1200" dirty="0"/>
                <a:t>Data</a:t>
              </a:r>
              <a:endParaRPr lang="da-DK" dirty="0"/>
            </a:p>
          </p:txBody>
        </p:sp>
      </p:grpSp>
    </p:spTree>
    <p:extLst>
      <p:ext uri="{BB962C8B-B14F-4D97-AF65-F5344CB8AC3E}">
        <p14:creationId xmlns:p14="http://schemas.microsoft.com/office/powerpoint/2010/main" val="41301242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Modeller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Pladsholder til indhold 9">
                <a:extLst>
                  <a:ext uri="{FF2B5EF4-FFF2-40B4-BE49-F238E27FC236}">
                    <a16:creationId xmlns:a16="http://schemas.microsoft.com/office/drawing/2014/main" id="{6123F9E9-4EDA-8639-0B90-4D3A855C3D7A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982664" y="1088631"/>
                <a:ext cx="5535650" cy="5077220"/>
              </a:xfrm>
            </p:spPr>
            <p:txBody>
              <a:bodyPr/>
              <a:lstStyle/>
              <a:p>
                <a:pPr>
                  <a:lnSpc>
                    <a:spcPct val="100000"/>
                  </a:lnSpc>
                </a:pPr>
                <a:r>
                  <a:rPr lang="da-DK" sz="1600" b="1" dirty="0"/>
                  <a:t>Long-Short Term Memory </a:t>
                </a:r>
                <a:r>
                  <a:rPr lang="da-DK" sz="1600" dirty="0"/>
                  <a:t>(LSTM)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LSTM er en avanceret type RNN, der er designet til bedre at håndtere problemet med langsigtede afhængigheder.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LSTM introducerer et koncept af celletilstande, en slags transportbånd, der løber gennem hele kæden af LSTM-blokke.</a:t>
                </a:r>
              </a:p>
              <a:p>
                <a:pPr lvl="2">
                  <a:lnSpc>
                    <a:spcPct val="100000"/>
                  </a:lnSpc>
                </a:pPr>
                <a:r>
                  <a:rPr lang="da-DK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Der er tre typer gates for at regulere informationens flow ind og ud af celletilstande.</a:t>
                </a:r>
              </a:p>
              <a:p>
                <a:pPr lvl="3">
                  <a:lnSpc>
                    <a:spcPct val="100000"/>
                  </a:lnSpc>
                </a:pPr>
                <a:r>
                  <a:rPr lang="da-DK" sz="12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Forget gate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a-DK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r>
                          <a:rPr lang="da-DK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da-DK" sz="12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.</a:t>
                </a:r>
              </a:p>
              <a:p>
                <a:pPr lvl="3">
                  <a:lnSpc>
                    <a:spcPct val="100000"/>
                  </a:lnSpc>
                </a:pPr>
                <a:r>
                  <a:rPr lang="da-DK" sz="12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Input gate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a-DK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e>
                      <m:sub>
                        <m:r>
                          <a:rPr lang="da-DK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da-DK" sz="12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.</a:t>
                </a:r>
              </a:p>
              <a:p>
                <a:pPr lvl="3">
                  <a:lnSpc>
                    <a:spcPct val="100000"/>
                  </a:lnSpc>
                </a:pPr>
                <a:r>
                  <a:rPr lang="da-DK" sz="12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Output gate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a-DK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a-DK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da-DK" sz="12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.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Takket være modellens bypass, er LSTM bedre til at undgå med langsigtede afhængigheder.</a:t>
                </a:r>
              </a:p>
              <a:p>
                <a:pPr lvl="1">
                  <a:lnSpc>
                    <a:spcPct val="100000"/>
                  </a:lnSpc>
                </a:pPr>
                <a:r>
                  <a:rPr lang="da-DK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LSTMs evne til at huske og bruge langtidsafhængigheder gør dem velegnede til mere komplekse tidsserier, der kræver hukommelse over længere perioder.</a:t>
                </a:r>
              </a:p>
            </p:txBody>
          </p:sp>
        </mc:Choice>
        <mc:Fallback>
          <p:sp>
            <p:nvSpPr>
              <p:cNvPr id="10" name="Pladsholder til indhold 9">
                <a:extLst>
                  <a:ext uri="{FF2B5EF4-FFF2-40B4-BE49-F238E27FC236}">
                    <a16:creationId xmlns:a16="http://schemas.microsoft.com/office/drawing/2014/main" id="{6123F9E9-4EDA-8639-0B90-4D3A855C3D7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982664" y="1088631"/>
                <a:ext cx="5535650" cy="5077220"/>
              </a:xfrm>
              <a:blipFill>
                <a:blip r:embed="rId6"/>
                <a:stretch>
                  <a:fillRect l="-2093" t="-1322" r="-1982"/>
                </a:stretch>
              </a:blipFill>
            </p:spPr>
            <p:txBody>
              <a:bodyPr/>
              <a:lstStyle/>
              <a:p>
                <a:r>
                  <a:rPr lang="da-DK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Billede 7">
            <a:extLst>
              <a:ext uri="{FF2B5EF4-FFF2-40B4-BE49-F238E27FC236}">
                <a16:creationId xmlns:a16="http://schemas.microsoft.com/office/drawing/2014/main" id="{6F16AE1B-0796-E8CB-19F7-C25BEC19F43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7098" r="35446"/>
          <a:stretch/>
        </p:blipFill>
        <p:spPr>
          <a:xfrm>
            <a:off x="6924503" y="1297123"/>
            <a:ext cx="4761410" cy="4263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2695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427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6</a:t>
              </a:r>
            </a:p>
          </p:txBody>
        </p:sp>
      </p:grpSp>
      <p:pic>
        <p:nvPicPr>
          <p:cNvPr id="23" name="Pladsholder til billede 22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48549432-49AA-50F6-E18A-166229001C2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080974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2562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Data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BD8AD885-6F1D-31F1-58C2-3085395975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5184624"/>
              </p:ext>
            </p:extLst>
          </p:nvPr>
        </p:nvGraphicFramePr>
        <p:xfrm>
          <a:off x="192000" y="1913092"/>
          <a:ext cx="11808000" cy="34943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9" name="Pladsholder til indhold 5">
            <a:extLst>
              <a:ext uri="{FF2B5EF4-FFF2-40B4-BE49-F238E27FC236}">
                <a16:creationId xmlns:a16="http://schemas.microsoft.com/office/drawing/2014/main" id="{84CF46FB-E545-1F31-67F0-34B4302682D9}"/>
              </a:ext>
            </a:extLst>
          </p:cNvPr>
          <p:cNvSpPr txBox="1">
            <a:spLocks/>
          </p:cNvSpPr>
          <p:nvPr/>
        </p:nvSpPr>
        <p:spPr>
          <a:xfrm>
            <a:off x="648000" y="1008000"/>
            <a:ext cx="9620712" cy="25597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179388" indent="-179388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>
                <a:solidFill>
                  <a:schemeClr val="accent1"/>
                </a:solidFill>
              </a:defRPr>
            </a:lvl1pPr>
            <a:lvl2pPr marL="360000" lvl="1" indent="-180975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accent1"/>
                </a:solidFill>
              </a:defRPr>
            </a:lvl2pPr>
            <a:lvl3pPr marL="540000" indent="-180975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>
                <a:solidFill>
                  <a:schemeClr val="accent1"/>
                </a:solidFill>
              </a:defRPr>
            </a:lvl3pPr>
            <a:lvl4pPr marL="720000" indent="-180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accent1"/>
                </a:solidFill>
              </a:defRPr>
            </a:lvl4pPr>
            <a:lvl5pPr marL="900000" indent="-180975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da-DK" sz="1800" b="0" i="0" kern="1200" spc="0" baseline="0" dirty="0">
                <a:ln>
                  <a:noFill/>
                </a:ln>
                <a:solidFill>
                  <a:srgbClr val="006E64"/>
                </a:solidFill>
                <a:effectLst/>
                <a:ea typeface="Cambria Math" panose="02040503050406030204" pitchFamily="18" charset="0"/>
              </a:rPr>
              <a:t>Datamodellen er konstrueret ud fra flere kilder, herunder primært ERP-systemet og tidsregistreringsværktøjet</a:t>
            </a:r>
            <a:r>
              <a:rPr lang="da-DK" sz="1800" kern="1200" dirty="0">
                <a:solidFill>
                  <a:srgbClr val="006E64"/>
                </a:solidFill>
                <a:effectLst/>
                <a:ea typeface="Cambria Math" panose="02040503050406030204" pitchFamily="18" charset="0"/>
              </a:rPr>
              <a:t>. Datasættet beriges desuden med branchespecifik data fra Danmarks Statistik (DST) samt egne beregninger i form af prognoser og estimeret risiko.</a:t>
            </a:r>
            <a:endParaRPr lang="da-DK" sz="1800" dirty="0">
              <a:effectLst/>
              <a:ea typeface="Cambria Math" panose="02040503050406030204" pitchFamily="18" charset="0"/>
            </a:endParaRPr>
          </a:p>
          <a:p>
            <a:endParaRPr lang="da-DK" sz="1600" dirty="0"/>
          </a:p>
        </p:txBody>
      </p:sp>
    </p:spTree>
    <p:extLst>
      <p:ext uri="{BB962C8B-B14F-4D97-AF65-F5344CB8AC3E}">
        <p14:creationId xmlns:p14="http://schemas.microsoft.com/office/powerpoint/2010/main" val="41335773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3035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>
        <mc:Choice xmlns:a14="http://schemas.microsoft.com/office/drawing/2010/main" Requires="a14">
          <p:sp>
            <p:nvSpPr>
              <p:cNvPr id="5" name="Pladsholder til indhold 5">
                <a:extLst>
                  <a:ext uri="{FF2B5EF4-FFF2-40B4-BE49-F238E27FC236}">
                    <a16:creationId xmlns:a16="http://schemas.microsoft.com/office/drawing/2014/main" id="{0256447C-D35F-4F86-D90B-E90F6B46AE7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48000" y="1008000"/>
                <a:ext cx="5113337" cy="5175517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defPPr>
                  <a:defRPr lang="en-US"/>
                </a:defPPr>
                <a:lvl1pPr marL="179388" indent="-179388">
                  <a:lnSpc>
                    <a:spcPct val="90000"/>
                  </a:lnSpc>
                  <a:spcBef>
                    <a:spcPts val="600"/>
                  </a:spcBef>
                  <a:buFont typeface="Arial" pitchFamily="34" charset="0"/>
                  <a:buChar char="•"/>
                  <a:defRPr sz="2000">
                    <a:solidFill>
                      <a:schemeClr val="accent1"/>
                    </a:solidFill>
                  </a:defRPr>
                </a:lvl1pPr>
                <a:lvl2pPr marL="360000" lvl="1" indent="-180975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accent1"/>
                    </a:solidFill>
                  </a:defRPr>
                </a:lvl2pPr>
                <a:lvl3pPr marL="540000" indent="-180975">
                  <a:lnSpc>
                    <a:spcPct val="90000"/>
                  </a:lnSpc>
                  <a:spcBef>
                    <a:spcPts val="600"/>
                  </a:spcBef>
                  <a:buFont typeface="Arial" pitchFamily="34" charset="0"/>
                  <a:buChar char="•"/>
                  <a:defRPr sz="2000">
                    <a:solidFill>
                      <a:schemeClr val="accent1"/>
                    </a:solidFill>
                  </a:defRPr>
                </a:lvl3pPr>
                <a:lvl4pPr marL="720000" indent="-180000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accent1"/>
                    </a:solidFill>
                  </a:defRPr>
                </a:lvl4pPr>
                <a:lvl5pPr marL="900000" indent="-180975">
                  <a:lnSpc>
                    <a:spcPct val="9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accent1"/>
                    </a:solidFill>
                  </a:defRPr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marL="0" indent="0">
                  <a:buNone/>
                </a:pPr>
                <a:r>
                  <a:rPr lang="da-DK" sz="1800" b="1" dirty="0"/>
                  <a:t>Konstruerede s-kurver kan give et indblik i, om projekterne følger den optimale afvikling af budget.</a:t>
                </a:r>
                <a:endParaRPr lang="da-DK" sz="1800" dirty="0"/>
              </a:p>
              <a:p>
                <a:pPr marL="0" indent="0">
                  <a:buNone/>
                </a:pPr>
                <a:r>
                  <a:rPr lang="da-DK" sz="1400" dirty="0">
                    <a:latin typeface="Cambria Math" panose="02040503050406030204" pitchFamily="18" charset="0"/>
                    <a:ea typeface="Cambria Math" panose="02040503050406030204" pitchFamily="18" charset="0"/>
                    <a:cs typeface="CMU Bright" panose="02000603000000000000" pitchFamily="2" charset="0"/>
                  </a:rPr>
                  <a:t>Vi kan modellere en ikke-lineær færdiggørelsesgrad, som en funktion af andelen af tid forbrugt, </a:t>
                </a:r>
                <a14:m>
                  <m:oMath xmlns:m="http://schemas.openxmlformats.org/officeDocument/2006/math">
                    <m:r>
                      <a:rPr lang="da-DK" sz="14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da-DK" sz="1400" dirty="0">
                    <a:latin typeface="Cambria Math" panose="02040503050406030204" pitchFamily="18" charset="0"/>
                    <a:ea typeface="Cambria Math" panose="02040503050406030204" pitchFamily="18" charset="0"/>
                    <a:cs typeface="CMU Bright" panose="02000603000000000000" pitchFamily="2" charset="0"/>
                  </a:rPr>
                  <a:t>:</a:t>
                </a:r>
              </a:p>
              <a:p>
                <a:pPr marL="0" indent="0">
                  <a:buNone/>
                </a:pPr>
                <a:endParaRPr lang="da-DK" sz="14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a-DK" sz="14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r>
                  <a:rPr lang="da-DK" sz="1400" dirty="0">
                    <a:latin typeface="Cambria Math" panose="02040503050406030204" pitchFamily="18" charset="0"/>
                    <a:ea typeface="Cambria Math" panose="02040503050406030204" pitchFamily="18" charset="0"/>
                    <a:cs typeface="CMU Bright" panose="02000603000000000000" pitchFamily="2" charset="0"/>
                  </a:rPr>
                  <a:t>    </a:t>
                </a:r>
              </a:p>
              <a:p>
                <a:pPr marL="0" indent="0">
                  <a:buNone/>
                </a:pPr>
                <a:r>
                  <a:rPr lang="da-DK" sz="1400" dirty="0">
                    <a:latin typeface="Cambria Math" panose="02040503050406030204" pitchFamily="18" charset="0"/>
                    <a:ea typeface="Cambria Math" panose="02040503050406030204" pitchFamily="18" charset="0"/>
                    <a:cs typeface="CMU Bright" panose="02000603000000000000" pitchFamily="2" charset="0"/>
                  </a:rPr>
                  <a:t>hvor vi  definerer hhv. </a:t>
                </a:r>
                <a14:m>
                  <m:oMath xmlns:m="http://schemas.openxmlformats.org/officeDocument/2006/math">
                    <m:r>
                      <a:rPr lang="da-DK" sz="14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𝜇</m:t>
                    </m:r>
                    <m:r>
                      <a:rPr lang="da-DK" sz="14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0.6</m:t>
                    </m:r>
                  </m:oMath>
                </a14:m>
                <a:r>
                  <a:rPr lang="da-DK" sz="1400" dirty="0">
                    <a:latin typeface="Cambria Math" panose="02040503050406030204" pitchFamily="18" charset="0"/>
                    <a:ea typeface="Cambria Math" panose="02040503050406030204" pitchFamily="18" charset="0"/>
                    <a:cs typeface="CMU Bright" panose="02000603000000000000" pitchFamily="2" charset="0"/>
                  </a:rPr>
                  <a:t> og </a:t>
                </a:r>
                <a14:m>
                  <m:oMath xmlns:m="http://schemas.openxmlformats.org/officeDocument/2006/math">
                    <m:r>
                      <a:rPr lang="da-DK" sz="14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𝜈</m:t>
                    </m:r>
                    <m:r>
                      <a:rPr lang="da-DK" sz="14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2</m:t>
                    </m:r>
                  </m:oMath>
                </a14:m>
                <a:r>
                  <a:rPr lang="da-DK" sz="1400" dirty="0">
                    <a:latin typeface="Cambria Math" panose="02040503050406030204" pitchFamily="18" charset="0"/>
                    <a:ea typeface="Cambria Math" panose="02040503050406030204" pitchFamily="18" charset="0"/>
                    <a:cs typeface="CMU Bright" panose="02000603000000000000" pitchFamily="2" charset="0"/>
                  </a:rPr>
                  <a:t>.</a:t>
                </a:r>
              </a:p>
              <a:p>
                <a:r>
                  <a:rPr lang="da-DK" sz="14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Funktionen er baseret på den kumulative forbrugsfunktion, som beskriver det forventede forbrug af ressourcer over tid. </a:t>
                </a:r>
              </a:p>
              <a:p>
                <a:r>
                  <a:rPr lang="da-DK" sz="14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Hvis s-kurven for det aktuelle projekt afviger fra det optimale, skal projektlederne være opmærksomme på potentielle risici og overskridelser.</a:t>
                </a:r>
              </a:p>
              <a:p>
                <a:r>
                  <a:rPr lang="da-DK" sz="14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Gennem s-kurverne kan projektledere identificere potentielle risici og overskridelser tidligt i projektet, hvilket giver dem mulighed for at træffe proaktive beslutninger om optimal ressourceallokering.</a:t>
                </a:r>
              </a:p>
              <a:p>
                <a:endParaRPr lang="da-DK" sz="14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a-DK" sz="14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a-DK" sz="1800" dirty="0"/>
              </a:p>
            </p:txBody>
          </p:sp>
        </mc:Choice>
        <mc:Fallback>
          <p:sp>
            <p:nvSpPr>
              <p:cNvPr id="5" name="Pladsholder til indhold 5">
                <a:extLst>
                  <a:ext uri="{FF2B5EF4-FFF2-40B4-BE49-F238E27FC236}">
                    <a16:creationId xmlns:a16="http://schemas.microsoft.com/office/drawing/2014/main" id="{0256447C-D35F-4F86-D90B-E90F6B46AE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8000" y="1008000"/>
                <a:ext cx="5113337" cy="5175517"/>
              </a:xfrm>
              <a:prstGeom prst="rect">
                <a:avLst/>
              </a:prstGeom>
              <a:blipFill>
                <a:blip r:embed="rId8"/>
                <a:stretch>
                  <a:fillRect l="-2741" t="-2002" r="-2503"/>
                </a:stretch>
              </a:blipFill>
            </p:spPr>
            <p:txBody>
              <a:bodyPr/>
              <a:lstStyle/>
              <a:p>
                <a:r>
                  <a:rPr lang="da-DK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itel 9">
            <a:extLst>
              <a:ext uri="{FF2B5EF4-FFF2-40B4-BE49-F238E27FC236}">
                <a16:creationId xmlns:a16="http://schemas.microsoft.com/office/drawing/2014/main" id="{AF9B0DCC-E14E-05AE-4D33-CE315A7426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Data - Prognoser</a:t>
            </a:r>
          </a:p>
        </p:txBody>
      </p:sp>
      <p:pic>
        <p:nvPicPr>
          <p:cNvPr id="9" name="Billede 8" descr="\documentclass{article}&#10;\usepackage{amsmath}&#10;\pagestyle{empty}&#10;\begin{document}&#10;&#10;\begin{equation*}&#10;\Phi(x;\mu,\nu)=\left[1+\left(\frac{x(1-\mu)}{\mu(1-x)}\right)^{-\nu}\right]^{-1}&#10;\end{equation*}&#10;&#10;&#10;\end{document}" title="IguanaTex Bitmap Display">
            <a:extLst>
              <a:ext uri="{FF2B5EF4-FFF2-40B4-BE49-F238E27FC236}">
                <a16:creationId xmlns:a16="http://schemas.microsoft.com/office/drawing/2014/main" id="{0F345685-9460-E07A-59BB-0DD57679374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492329" y="2051773"/>
            <a:ext cx="3423702" cy="700499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D6DBF3DE-D4D2-6CD1-9821-7427C5EF6AD6}"/>
              </a:ext>
            </a:extLst>
          </p:cNvPr>
          <p:cNvGrpSpPr/>
          <p:nvPr/>
        </p:nvGrpSpPr>
        <p:grpSpPr>
          <a:xfrm>
            <a:off x="6786293" y="1008000"/>
            <a:ext cx="4194035" cy="4142107"/>
            <a:chOff x="7349965" y="1008000"/>
            <a:chExt cx="4194035" cy="4142107"/>
          </a:xfrm>
        </p:grpSpPr>
        <p:pic>
          <p:nvPicPr>
            <p:cNvPr id="2" name="Billede 1" descr="\documentclass{article}&#10;\usepackage{amsmath}&#10;\usepackage{adjustbox}&#10;\usepackage{pgfplots}&#10;&#10;\pgfplotsset{compat = newest}&#10;\definecolor{elcon0}{RGB}{0,110,100} % Defining the color #006e64&#10;\definecolor{elcon1}{RGB}{115,72,72} % Defining the color #734848&#10;\definecolor{elcon2}{RGB}{0,78,74} % Defining the color #004e4a&#10;\definecolor{elcon3}{RGB}{193,113,80} % Defining thcolor #c17150&#10;&#10;\usepackage[margin=0.25in]{geometry}&#10;\usepackage{pgfplots}&#10;\pgfplotsset{width=10cm,compat=1.9}&#10;&#10;% We will externalize the figures&#10;\usepgfplotslibrary{external}&#10;\tikzexternalize&#10;&#10;\begin{document}&#10;&#10;&#10;&#10;\begin{figure}[ht]&#10;\centering&#10;\begin{tikzpicture}&#10;    \begin{axis}[&#10;        xmin = 0, xmax = 1,&#10;        ymin = 0, ymax = 1,&#10;        legend style={at={(0.5,-0.1)},anchor=north}, % Positioning the legend&#10;        legend columns=-1] % For horizontal legend&#10;        \addplot[&#10;            domain = 0:1,&#10;            samples = 200,&#10;            smooth,&#10;            thick,&#10;            color=elcon0, % Using the defined color here&#10;        ] {(1+((x*(1-0.5))/(0.5*(1-x)))^(-1))^(-1)};&#10;        \addlegendentry{$\nu=1$}% Label for the first plot;&#10;        \addplot[&#10;            domain = 0:1,&#10;            samples = 200,&#10;            smooth,&#10;            thick,&#10;            color=elcon1, % Using the defined color here&#10;        ] {(1+((x*(1-0.5))/(0.5*(1-x)))^(-2))^(-1)};&#10;        \addlegendentry{$\nu=2$}% Label for the second plot&#10;        \addplot[&#10;            domain = 0:1,&#10;            samples = 200,&#10;            smooth,&#10;            thick,&#10;            color=elcon3, % Using the defined color here&#10;        ] {(1+((x*(1-0.5))/(0.5*(1-x)))^(-3))^(-1)};&#10;        \addlegendentry{$\nu=3$} % Label for the third plot&#10;        % Dashed with \mu = 0.75&#10;        \addplot[&#10;            domain = 0:1,&#10;            samples = 200,&#10;            dashed,&#10;            thin,&#10;            color=elcon0, % Using the defined color here&#10;        ] {(1+((x*(1-0.6))/(0.6*(1-x)))^(-1))^(-1)};&#10;        \addplot[&#10;            domain = 0:1,&#10;            samples = 200,&#10;            dashed,&#10;            thin,&#10;            color=elcon1, % Using the defined color here&#10;        ] {(1+((x*(1-0.6))/(0.6*(1-x)))^(-2))^(-1)};&#10;        \addplot[&#10;            domain = 0:1,&#10;            samples = 200,&#10;            dashed,&#10;            thin,&#10;            color=elcon3, % Using the defined color here&#10;        ] {(1+((x*(1-0.6))/(0.6*(1-x)))^(-3))^(-1)};&#10;    \end{axis}&#10;\end{tikzpicture}&#10;&#10;\end{figure}&#10;&#10;&#10;&#10;\end{document}" title="IguanaTex Bitmap Display">
              <a:extLst>
                <a:ext uri="{FF2B5EF4-FFF2-40B4-BE49-F238E27FC236}">
                  <a16:creationId xmlns:a16="http://schemas.microsoft.com/office/drawing/2014/main" id="{E7931504-6F19-A673-A4F1-78E07F1358A8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 rotWithShape="1">
            <a:blip r:embed="rId10"/>
            <a:srcRect b="68546"/>
            <a:stretch/>
          </p:blipFill>
          <p:spPr>
            <a:xfrm>
              <a:off x="7349965" y="1008000"/>
              <a:ext cx="4194035" cy="3911184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6" name="Tekstfelt 65">
                  <a:extLst>
                    <a:ext uri="{FF2B5EF4-FFF2-40B4-BE49-F238E27FC236}">
                      <a16:creationId xmlns:a16="http://schemas.microsoft.com/office/drawing/2014/main" id="{DFD66FED-E94F-1077-8FDD-14696035ECE6}"/>
                    </a:ext>
                  </a:extLst>
                </p:cNvPr>
                <p:cNvSpPr txBox="1"/>
                <p:nvPr/>
              </p:nvSpPr>
              <p:spPr>
                <a:xfrm>
                  <a:off x="7349965" y="4965441"/>
                  <a:ext cx="4194035" cy="184666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algn="ctr"/>
                  <a:r>
                    <a:rPr lang="da-DK" sz="1200" i="1" dirty="0">
                      <a:solidFill>
                        <a:schemeClr val="bg2">
                          <a:lumMod val="50000"/>
                        </a:schemeClr>
                      </a:solidFill>
                    </a:rPr>
                    <a:t>Stiplede linjer er </a:t>
                  </a:r>
                  <a14:m>
                    <m:oMath xmlns:m="http://schemas.openxmlformats.org/officeDocument/2006/math">
                      <m:r>
                        <a:rPr lang="da-DK" sz="1200" i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da-DK" sz="1200" i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=0.6</m:t>
                      </m:r>
                    </m:oMath>
                  </a14:m>
                  <a:r>
                    <a:rPr lang="da-DK" sz="1200" i="1" dirty="0">
                      <a:solidFill>
                        <a:schemeClr val="bg2">
                          <a:lumMod val="50000"/>
                        </a:schemeClr>
                      </a:solidFill>
                    </a:rPr>
                    <a:t>, og faste streger er </a:t>
                  </a:r>
                  <a14:m>
                    <m:oMath xmlns:m="http://schemas.openxmlformats.org/officeDocument/2006/math">
                      <m:r>
                        <a:rPr lang="da-DK" sz="1200" i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da-DK" sz="1200" i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=0.5</m:t>
                      </m:r>
                    </m:oMath>
                  </a14:m>
                  <a:r>
                    <a:rPr lang="da-DK" sz="1200" i="1" dirty="0">
                      <a:solidFill>
                        <a:schemeClr val="bg2">
                          <a:lumMod val="50000"/>
                        </a:schemeClr>
                      </a:solidFill>
                    </a:rPr>
                    <a:t>.</a:t>
                  </a:r>
                </a:p>
              </p:txBody>
            </p:sp>
          </mc:Choice>
          <mc:Fallback xmlns="">
            <p:sp>
              <p:nvSpPr>
                <p:cNvPr id="66" name="Tekstfelt 65">
                  <a:extLst>
                    <a:ext uri="{FF2B5EF4-FFF2-40B4-BE49-F238E27FC236}">
                      <a16:creationId xmlns:a16="http://schemas.microsoft.com/office/drawing/2014/main" id="{DFD66FED-E94F-1077-8FDD-14696035ECE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49965" y="4965441"/>
                  <a:ext cx="4194035" cy="184666"/>
                </a:xfrm>
                <a:prstGeom prst="rect">
                  <a:avLst/>
                </a:prstGeom>
                <a:blipFill>
                  <a:blip r:embed="rId11"/>
                  <a:stretch>
                    <a:fillRect t="-26667" b="-50000"/>
                  </a:stretch>
                </a:blipFill>
              </p:spPr>
              <p:txBody>
                <a:bodyPr/>
                <a:lstStyle/>
                <a:p>
                  <a:r>
                    <a:rPr lang="da-DK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2363247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65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ladsholder til billede 21">
            <a:extLst>
              <a:ext uri="{FF2B5EF4-FFF2-40B4-BE49-F238E27FC236}">
                <a16:creationId xmlns:a16="http://schemas.microsoft.com/office/drawing/2014/main" id="{5CEAF9BE-0C77-42EF-A843-2DD67A37E7E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11" r="30411"/>
          <a:stretch/>
        </p:blipFill>
        <p:spPr>
          <a:xfrm>
            <a:off x="8161784" y="0"/>
            <a:ext cx="4030217" cy="68580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16215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669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6</a:t>
              </a:r>
            </a:p>
          </p:txBody>
        </p:sp>
      </p:grpSp>
      <p:pic>
        <p:nvPicPr>
          <p:cNvPr id="23" name="Pladsholder til billede 22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D6804B78-DE4E-B939-80BD-A9B0009A6B4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0038772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Analyse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737530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800" b="1" dirty="0"/>
              <a:t>Tal fra Danmarks Statistik giver et billede af en presset situation i branchen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2022 er præget af en tilbagegang i branchen generelt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I løbet af 2022 faldt producent-tillidsindekset 20%-point. Der har ikke været markant fremgang siden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Andelen af virksomheder, som i branchen vurderer, at der er signifikante begrænsninger på produktionskapaciteten, er steget ~40% siden december 2022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Aktiviteten var på et meget højt niveau i 2022, men mod slutningen af 2022 vendte udviklingen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Vi ser en lille tilbagegang i branchen generelle omsætning i 2023.</a:t>
            </a:r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1AC1B65-A75D-8FEA-A4C1-B1F7480F98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779149" y="1088631"/>
            <a:ext cx="7754038" cy="3877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9272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4501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Analyse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800" b="1" dirty="0"/>
              <a:t>Hvilke variable kan vi bruge til at prædiktere det endelige dækningsbidrag?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Kontraktarbejde er positivt korreleret med endeligt dækningsbidrag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Afvigelserne fra omkostningernes s-kurve er korreleret. 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Fakturerbare timer er korreleret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Andelen af omkostninger til materialer er korreleret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Ingen produktions-begrænsninger i branchen er korreleret. </a:t>
            </a:r>
          </a:p>
          <a:p>
            <a:pPr marL="0" indent="0">
              <a:buNone/>
            </a:pPr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5960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5389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Analyse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800" b="1" dirty="0"/>
              <a:t>Hvilke variable kan vi bruge til at prædiktere det endelige dækningsbidrag?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Ved at inkluderet tilbudskalk. og produktkalk. kan vi give modellen et bud på et basis-niveau, og bruge de resterende variabler til at modellere ændringer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Vi udelader slutvurderingen, da dette er vores benchmark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Hvis modellen ikke kan give et bedre bud end sagsansvarlige, så er modellen ikke brugbar.</a:t>
            </a:r>
          </a:p>
          <a:p>
            <a:pPr marL="0" indent="0">
              <a:buNone/>
            </a:pPr>
            <a:endParaRPr lang="da-DK" sz="14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8746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Analyse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2" y="1088631"/>
            <a:ext cx="2559600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800" b="1" dirty="0"/>
              <a:t>Hvilke variable kan vi bruge til at prædiktere det endelige dækningsbidrag?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Risiko har større effekt på dækningsbidrag i 505 sammenlignet med 515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Stort set ingen målbart effekt på afdelingernes faktureringsgrad i det store billede.</a:t>
            </a:r>
          </a:p>
          <a:p>
            <a:pPr lvl="1"/>
            <a:r>
              <a:rPr lang="da-DK" sz="12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I realtid kan vi stadig udnytte faktureringsgrad til at lave prognoser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Svag positiv effekt på projekters varighed og dækningsbidrag.</a:t>
            </a:r>
          </a:p>
          <a:p>
            <a:pPr lvl="1"/>
            <a:r>
              <a:rPr lang="da-DK" sz="12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Spørgsmålet er hvilken vej årsagssammenhængen går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Modsatrettede effekter på afvigelser ved s-kurver i 505 og 515. </a:t>
            </a:r>
          </a:p>
          <a:p>
            <a:pPr marL="0" indent="0">
              <a:buNone/>
            </a:pPr>
            <a:endParaRPr lang="da-DK" sz="14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922776" y="1088631"/>
            <a:ext cx="7610411" cy="507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7067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807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6</a:t>
              </a:r>
            </a:p>
          </p:txBody>
        </p:sp>
      </p:grpSp>
      <p:pic>
        <p:nvPicPr>
          <p:cNvPr id="23" name="Pladsholder til billede 22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EB01291D-C591-FF49-B6E9-903D33D3D6F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1195525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FBFA525-500E-18C1-4247-C00AF685E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1039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BFA525-500E-18C1-4247-C00AF685E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11FE1D-FF86-0AFA-5921-A013D2808BA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a-DK" dirty="0"/>
              <a:t>Lineære modell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25636DF-3A30-B0AE-26C2-D17CA8C76E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905391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15067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b="1" dirty="0"/>
              <a:t>Danmarks Statistik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Følger tendensen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Bright" panose="02000603000000000000" pitchFamily="2" charset="0"/>
              </a:rPr>
              <a:t>Nyere sager kan i højere grad tilskrives makroøkonomiske tendenser.</a:t>
            </a:r>
          </a:p>
          <a:p>
            <a:pPr marL="179025" lvl="1" indent="0">
              <a:buNone/>
            </a:pPr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06D8E1AD-9028-8B25-B376-2FE77088E063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5" name="Gruppe 4">
              <a:extLst>
                <a:ext uri="{FF2B5EF4-FFF2-40B4-BE49-F238E27FC236}">
                  <a16:creationId xmlns:a16="http://schemas.microsoft.com/office/drawing/2014/main" id="{E3950B47-7D66-1D8F-478C-110978382044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CFDA80F7-43D1-F20A-C2BB-FA077EAD061B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ADDC3691-7B4E-DE05-36C0-0BA8171ADBB3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0B555891-A095-2D29-1CD3-9DABAB02B436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88D83FC4-E8AC-E4E2-F390-EA81617C0AD9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5FA5C6F4-A4DE-4E2A-A804-9407CC006923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14" name="Tekstfelt 13">
            <a:extLst>
              <a:ext uri="{FF2B5EF4-FFF2-40B4-BE49-F238E27FC236}">
                <a16:creationId xmlns:a16="http://schemas.microsoft.com/office/drawing/2014/main" id="{278EB767-683E-F457-686E-FB25CC2E9A34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7134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b="1" dirty="0"/>
              <a:t>S-kurver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Serif" panose="02000603000000000000" pitchFamily="2" charset="0"/>
              </a:rPr>
              <a:t>Følger generelt tendensen, men underestimerer ændringerne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Serif" panose="02000603000000000000" pitchFamily="2" charset="0"/>
              </a:rPr>
              <a:t>Gennemsnitlig procentvis absolut afvigelse </a:t>
            </a:r>
            <a:r>
              <a:rPr lang="da-DK" sz="1400" i="1" dirty="0">
                <a:latin typeface="Cambria Math" panose="02040503050406030204" pitchFamily="18" charset="0"/>
                <a:ea typeface="Cambria Math" panose="02040503050406030204" pitchFamily="18" charset="0"/>
                <a:cs typeface="CMU Serif" panose="02000603000000000000" pitchFamily="2" charset="0"/>
              </a:rPr>
              <a:t>(1)</a:t>
            </a:r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Serif" panose="02000603000000000000" pitchFamily="2" charset="0"/>
              </a:rPr>
              <a:t> på 65.79%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Serif" panose="02000603000000000000" pitchFamily="2" charset="0"/>
              </a:rPr>
              <a:t>Kvadratrod af gennemsnitlig kvadratafvigelse </a:t>
            </a:r>
            <a:r>
              <a:rPr lang="da-DK" sz="1400" i="1" dirty="0">
                <a:latin typeface="Cambria Math" panose="02040503050406030204" pitchFamily="18" charset="0"/>
                <a:ea typeface="Cambria Math" panose="02040503050406030204" pitchFamily="18" charset="0"/>
                <a:cs typeface="CMU Serif" panose="02000603000000000000" pitchFamily="2" charset="0"/>
              </a:rPr>
              <a:t>(2) </a:t>
            </a:r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Serif" panose="02000603000000000000" pitchFamily="2" charset="0"/>
              </a:rPr>
              <a:t>på 1.14 </a:t>
            </a:r>
            <a:r>
              <a:rPr lang="da-DK" sz="1400" dirty="0" err="1">
                <a:latin typeface="Cambria Math" panose="02040503050406030204" pitchFamily="18" charset="0"/>
                <a:ea typeface="Cambria Math" panose="02040503050406030204" pitchFamily="18" charset="0"/>
                <a:cs typeface="CMU Serif" panose="02000603000000000000" pitchFamily="2" charset="0"/>
              </a:rPr>
              <a:t>mDKK</a:t>
            </a:r>
            <a:endParaRPr lang="da-DK" sz="1400" i="1" dirty="0">
              <a:latin typeface="Cambria Math" panose="02040503050406030204" pitchFamily="18" charset="0"/>
              <a:ea typeface="Cambria Math" panose="02040503050406030204" pitchFamily="18" charset="0"/>
              <a:cs typeface="CMU Serif" panose="02000603000000000000" pitchFamily="2" charset="0"/>
            </a:endParaRPr>
          </a:p>
          <a:p>
            <a:pPr marL="0" indent="0">
              <a:buNone/>
            </a:pPr>
            <a:endParaRPr lang="da-DK" sz="14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endParaRPr lang="da-DK" sz="1400" dirty="0"/>
          </a:p>
          <a:p>
            <a:pPr marL="0" indent="0">
              <a:buNone/>
            </a:pPr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F1AAFC5B-EC4B-A1F0-32C4-78F6A476999C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4A12BD11-A146-DADB-4B00-503EC1CC6F0B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F5206F32-8AF1-7675-71F6-860F0E82F17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78FC99CD-F002-C20F-1196-A17D72658DAF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B5DEECF3-10BC-9E02-2E13-86BAA74DBD72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E4A5D7A0-04C7-01D2-6087-C29093E137EB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D6DCC60D-7EE4-DDAF-5625-E1BE5825885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5" name="Tekstfelt 4">
            <a:extLst>
              <a:ext uri="{FF2B5EF4-FFF2-40B4-BE49-F238E27FC236}">
                <a16:creationId xmlns:a16="http://schemas.microsoft.com/office/drawing/2014/main" id="{FDB168B4-226A-3038-7E4F-5F31E376202E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68910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Lineær model med lags</a:t>
            </a:r>
          </a:p>
          <a:p>
            <a:r>
              <a:rPr lang="da-DK" sz="1400" dirty="0"/>
              <a:t>Følger udviklingen pænt, men er i højere grad </a:t>
            </a:r>
            <a:r>
              <a:rPr lang="da-DK" sz="1400" dirty="0" err="1"/>
              <a:t>biased</a:t>
            </a:r>
            <a:r>
              <a:rPr lang="da-DK" sz="1400" dirty="0"/>
              <a:t>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Serif" panose="02000603000000000000" pitchFamily="2" charset="0"/>
              </a:rPr>
              <a:t>Gennemsnitlig procentvis absolut afvigelse </a:t>
            </a:r>
            <a:r>
              <a:rPr lang="da-DK" sz="1400" i="1" dirty="0">
                <a:latin typeface="Cambria Math" panose="02040503050406030204" pitchFamily="18" charset="0"/>
                <a:ea typeface="Cambria Math" panose="02040503050406030204" pitchFamily="18" charset="0"/>
                <a:cs typeface="CMU Serif" panose="02000603000000000000" pitchFamily="2" charset="0"/>
              </a:rPr>
              <a:t>(1)</a:t>
            </a:r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Serif" panose="02000603000000000000" pitchFamily="2" charset="0"/>
              </a:rPr>
              <a:t> på 65.79%.</a:t>
            </a:r>
          </a:p>
          <a:p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Serif" panose="02000603000000000000" pitchFamily="2" charset="0"/>
              </a:rPr>
              <a:t>Kvadratrod af gennemsnitlig kvadratafvigelse </a:t>
            </a:r>
            <a:r>
              <a:rPr lang="da-DK" sz="1400" i="1" dirty="0">
                <a:latin typeface="Cambria Math" panose="02040503050406030204" pitchFamily="18" charset="0"/>
                <a:ea typeface="Cambria Math" panose="02040503050406030204" pitchFamily="18" charset="0"/>
                <a:cs typeface="CMU Serif" panose="02000603000000000000" pitchFamily="2" charset="0"/>
              </a:rPr>
              <a:t>(2) </a:t>
            </a:r>
            <a:r>
              <a:rPr lang="da-DK" sz="1400" dirty="0">
                <a:latin typeface="Cambria Math" panose="02040503050406030204" pitchFamily="18" charset="0"/>
                <a:ea typeface="Cambria Math" panose="02040503050406030204" pitchFamily="18" charset="0"/>
                <a:cs typeface="CMU Serif" panose="02000603000000000000" pitchFamily="2" charset="0"/>
              </a:rPr>
              <a:t>på 1.14</a:t>
            </a:r>
            <a:endParaRPr lang="da-DK" sz="1400" i="1" dirty="0">
              <a:latin typeface="Cambria Math" panose="02040503050406030204" pitchFamily="18" charset="0"/>
              <a:ea typeface="Cambria Math" panose="02040503050406030204" pitchFamily="18" charset="0"/>
              <a:cs typeface="CMU Serif" panose="02000603000000000000" pitchFamily="2" charset="0"/>
            </a:endParaRPr>
          </a:p>
          <a:p>
            <a:pPr marL="0" indent="0">
              <a:buNone/>
            </a:pPr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CD253F5C-156F-C4BB-5C1E-2F88560E6A94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E327CB6D-44DC-4166-8F5C-FE7F70E69A5D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E6C51D25-07EC-F10E-B13B-E81C02B14FF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544AF9E7-FA0D-EFB2-C186-8B71E9D5A6C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66E65036-491F-8561-7F36-26349ED8A1BD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4C22960A-20BE-33FF-1367-F0E4C673626C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8E20E7B4-8CE9-0249-C523-F694311B2119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5" name="Tekstfelt 4">
            <a:extLst>
              <a:ext uri="{FF2B5EF4-FFF2-40B4-BE49-F238E27FC236}">
                <a16:creationId xmlns:a16="http://schemas.microsoft.com/office/drawing/2014/main" id="{298AD440-7629-2A29-ABFE-76982FD91ADB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107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189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6</a:t>
              </a:r>
            </a:p>
          </p:txBody>
        </p:sp>
      </p:grpSp>
      <p:pic>
        <p:nvPicPr>
          <p:cNvPr id="24" name="Pladsholder til billede 23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53AE1CB5-74B0-8748-0C1C-6A905AD892E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2878787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Lineær model med lags og budget</a:t>
            </a:r>
          </a:p>
          <a:p>
            <a:r>
              <a:rPr lang="da-DK" sz="1400" dirty="0"/>
              <a:t>Følger udviklingen pænt, men er i højere grad </a:t>
            </a:r>
            <a:r>
              <a:rPr lang="da-DK" sz="1400" dirty="0" err="1"/>
              <a:t>biased</a:t>
            </a:r>
            <a:r>
              <a:rPr lang="da-DK" sz="1400" dirty="0"/>
              <a:t>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41,5%.</a:t>
            </a:r>
          </a:p>
          <a:p>
            <a:pPr marL="0" indent="0">
              <a:buNone/>
            </a:pPr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CD253F5C-156F-C4BB-5C1E-2F88560E6A94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E327CB6D-44DC-4166-8F5C-FE7F70E69A5D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E6C51D25-07EC-F10E-B13B-E81C02B14FF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544AF9E7-FA0D-EFB2-C186-8B71E9D5A6C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66E65036-491F-8561-7F36-26349ED8A1BD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4C22960A-20BE-33FF-1367-F0E4C673626C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8E20E7B4-8CE9-0249-C523-F694311B2119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5" name="Tekstfelt 4">
            <a:extLst>
              <a:ext uri="{FF2B5EF4-FFF2-40B4-BE49-F238E27FC236}">
                <a16:creationId xmlns:a16="http://schemas.microsoft.com/office/drawing/2014/main" id="{7A562B5D-C078-0FF6-56F4-6F20B6001BEE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271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 err="1"/>
              <a:t>Ligevægtet</a:t>
            </a:r>
            <a:r>
              <a:rPr lang="da-DK" b="1" dirty="0"/>
              <a:t> kombination af DST, S-kurver og OLS.</a:t>
            </a:r>
          </a:p>
          <a:p>
            <a:r>
              <a:rPr lang="da-DK" sz="1400" dirty="0"/>
              <a:t>En smule bias opadtil, men ikke i så høj grad som OLS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20,2%.</a:t>
            </a:r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5" name="Gruppe 4">
            <a:extLst>
              <a:ext uri="{FF2B5EF4-FFF2-40B4-BE49-F238E27FC236}">
                <a16:creationId xmlns:a16="http://schemas.microsoft.com/office/drawing/2014/main" id="{46C1B039-4CA6-6980-9F03-94EE77FAE3B9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63A642F6-E885-4041-0740-3AFC57A6FB7A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B185DACA-8764-8711-C0DD-981820162519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9FD10A9A-0651-3840-73F2-D4BFBD24C13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1C359508-BD54-7FE9-E225-31A269EA9F82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5BAD5090-1332-829A-00E2-9ED801B8E055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8E457B7D-19B6-5A56-0CCC-64ED8F1FB30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3" name="Tekstfelt 2">
            <a:extLst>
              <a:ext uri="{FF2B5EF4-FFF2-40B4-BE49-F238E27FC236}">
                <a16:creationId xmlns:a16="http://schemas.microsoft.com/office/drawing/2014/main" id="{779573C2-CF22-5FF9-84BE-192203A32E07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2034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CA-OLS</a:t>
            </a:r>
          </a:p>
          <a:p>
            <a:r>
              <a:rPr lang="da-DK" sz="1400" dirty="0"/>
              <a:t>Opdeling af ens projekter, som bliver trænet på hver deres model.</a:t>
            </a:r>
          </a:p>
          <a:p>
            <a:r>
              <a:rPr lang="da-DK" sz="1400" dirty="0"/>
              <a:t>Clusters defineres som grupper med høj ensartethed indenfor gruppen og lav ensartethed mellem grupperne.</a:t>
            </a:r>
          </a:p>
          <a:p>
            <a:r>
              <a:rPr lang="da-DK" sz="1400" dirty="0"/>
              <a:t>Her varieres antallet af grupper. En stigning i antallet af grupper kan medføre højere ensartethed indenfor grupperne, men også mellem grupperne.</a:t>
            </a:r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F3A0D7F7-4EE5-666B-A82A-0AC28ABC6528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5" name="Gruppe 4">
              <a:extLst>
                <a:ext uri="{FF2B5EF4-FFF2-40B4-BE49-F238E27FC236}">
                  <a16:creationId xmlns:a16="http://schemas.microsoft.com/office/drawing/2014/main" id="{D8DE3F24-256F-97C3-CB25-E74E30CEB55B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BCE8601E-CD8D-53A2-2143-BD8CACFC3747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353CE843-02B7-92EB-80E4-3B468F09ADFE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08BF64B4-696C-30B8-6D95-58F71DEA2A45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7" name="Billede 6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E2DC9D98-C0E8-6DB7-3E5F-5ABCD111E734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7B477506-C07C-DCCC-A2C4-A5767DBE2C40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13" name="Tekstfelt 12">
            <a:extLst>
              <a:ext uri="{FF2B5EF4-FFF2-40B4-BE49-F238E27FC236}">
                <a16:creationId xmlns:a16="http://schemas.microsoft.com/office/drawing/2014/main" id="{0FA0DF93-E955-43A8-6165-D4DF79517A84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25717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Kombination af CA-OLS.</a:t>
            </a:r>
          </a:p>
          <a:p>
            <a:r>
              <a:rPr lang="da-DK" sz="1400" dirty="0"/>
              <a:t>Intet bias generelt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33%.</a:t>
            </a:r>
          </a:p>
          <a:p>
            <a:pPr marL="0" indent="0">
              <a:buNone/>
            </a:pPr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B760D819-5E2D-99F9-4BB7-60578F8433A6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794332D7-8AC5-5D66-ABE2-4F2018704350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779CF768-0325-D6EF-0E98-286DB1FD58CB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086BB64F-507F-96B0-C30D-563A8BCE90D6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BC33C93E-F2CF-BBC1-E003-ECF659E89C82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767C2237-AC66-E1D0-7DF9-A048B21B4ED9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3C9EA09E-E0DB-76FD-85B0-CAFEFD72DA7E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5" name="Tekstfelt 4">
            <a:extLst>
              <a:ext uri="{FF2B5EF4-FFF2-40B4-BE49-F238E27FC236}">
                <a16:creationId xmlns:a16="http://schemas.microsoft.com/office/drawing/2014/main" id="{BF322977-1E75-F537-F24A-DE10BF1C75C1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6271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216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Kombination af DST og CA-OLS</a:t>
            </a:r>
          </a:p>
          <a:p>
            <a:r>
              <a:rPr lang="da-DK" sz="1400" dirty="0"/>
              <a:t>Reducerer bias i forhold CA-OLS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18%.</a:t>
            </a:r>
          </a:p>
          <a:p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3217038" y="1287106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A69F1193-DE50-04B6-46E4-8B57EB2EE034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D0240BF0-A336-7DEA-3816-DA8DDBEAA817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25C15B22-54B8-6AF9-D69C-7FE3CB7E107F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2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C4947D54-25DB-F01F-CBCE-84C5003CC774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2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EDE112FF-96BC-429C-676A-1066C874C069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EBCB86EC-6FBB-E261-DF7C-413077F24866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2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950442F0-D0AC-A284-0330-80D4E571939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2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5" name="Tekstfelt 4">
            <a:extLst>
              <a:ext uri="{FF2B5EF4-FFF2-40B4-BE49-F238E27FC236}">
                <a16:creationId xmlns:a16="http://schemas.microsoft.com/office/drawing/2014/main" id="{DCEF2F3E-FE11-A617-5795-F2D73ABE5D0E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5723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FBFA525-500E-18C1-4247-C00AF685E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995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BFA525-500E-18C1-4247-C00AF685E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11FE1D-FF86-0AFA-5921-A013D2808BA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a-DK" dirty="0"/>
              <a:t>Maskinlæringsmodell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25636DF-3A30-B0AE-26C2-D17CA8C76E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5276671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 err="1"/>
              <a:t>Elastic</a:t>
            </a:r>
            <a:r>
              <a:rPr lang="da-DK" b="1" dirty="0"/>
              <a:t> Net</a:t>
            </a:r>
          </a:p>
          <a:p>
            <a:r>
              <a:rPr lang="da-DK" sz="1400" dirty="0"/>
              <a:t>Generelt bias opadtil. Det kan muligvis justeres, ved at fintune modellens parametre.</a:t>
            </a:r>
          </a:p>
          <a:p>
            <a:r>
              <a:rPr lang="da-DK" sz="1400" dirty="0"/>
              <a:t>Kan i høj grad bruges til at beskrive tendens, men ikke niveau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12,8%.</a:t>
            </a:r>
          </a:p>
          <a:p>
            <a:r>
              <a:rPr lang="da-DK" sz="1400" dirty="0"/>
              <a:t>Gennemsnitlige absolutte afvigelser (2) på 149.000 kr.</a:t>
            </a:r>
          </a:p>
          <a:p>
            <a:pPr marL="0" indent="0">
              <a:buNone/>
            </a:pPr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4F939BB4-F1B4-A6F2-E352-5C1D6E43E279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60C737D2-E4DE-637D-BCE5-3AEFF1CD7773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FC7FD43E-4B28-F405-3C6F-2288BD8F6F8E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51CEEF0C-B0D0-3F6E-841E-E58A2E20A291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DB500ECF-0F4F-26EB-8DE3-06F3325FEA77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7478CB5A-7A49-CC2D-94EF-3F276E332153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F16BA97C-810C-0F0F-B534-CB0AB5103B76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5" name="Tekstfelt 4">
            <a:extLst>
              <a:ext uri="{FF2B5EF4-FFF2-40B4-BE49-F238E27FC236}">
                <a16:creationId xmlns:a16="http://schemas.microsoft.com/office/drawing/2014/main" id="{A6379342-9B4B-0D5C-CEBE-CA8E1462BD2F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6175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 err="1"/>
              <a:t>Random</a:t>
            </a:r>
            <a:r>
              <a:rPr lang="da-DK" b="1" dirty="0"/>
              <a:t> Forest</a:t>
            </a:r>
          </a:p>
          <a:p>
            <a:r>
              <a:rPr lang="da-DK" sz="1400" dirty="0"/>
              <a:t>Fuldt sæt variable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8%.</a:t>
            </a:r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85030B75-E64D-538F-63A9-C0549A0A45F9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5DE13F17-AB3F-1855-75C3-320F71767443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A89B1958-57F0-313D-AA18-5D734E77E48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C31712A2-3778-E110-2188-B69891E1946F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65D0C2B8-675B-D8A6-4E50-95D7ED5A2069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053D2FE3-FECF-1ED8-C806-BB139D9E79B3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B275D337-6FA4-2093-5C24-B8E3768ED1D5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5" name="Tekstfelt 4">
            <a:extLst>
              <a:ext uri="{FF2B5EF4-FFF2-40B4-BE49-F238E27FC236}">
                <a16:creationId xmlns:a16="http://schemas.microsoft.com/office/drawing/2014/main" id="{5ECFB385-68BB-9B4F-4FD8-213D7EF8915E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015120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 err="1"/>
              <a:t>Random</a:t>
            </a:r>
            <a:r>
              <a:rPr lang="da-DK" b="1" dirty="0"/>
              <a:t> Forest</a:t>
            </a:r>
          </a:p>
          <a:p>
            <a:r>
              <a:rPr lang="da-DK" sz="1400" dirty="0"/>
              <a:t>Udvalgte variable ud fra korrelationsmatricen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25,6%.</a:t>
            </a:r>
          </a:p>
          <a:p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BD19C2F5-7908-6BF7-3428-843E93E0AE08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E0573A09-C631-775E-2CDF-191D541A0F8E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3204AFFF-B43E-937F-B412-ED17D48132C8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3DD8A121-2288-6DF1-4C11-62FBDB901A26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82388F5C-1FD1-652B-EA74-912997263664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4098F49C-3FEA-07D5-52D0-A88C179E53B9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1A980926-3F82-C8EF-0C24-EFADE91352C0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5" name="Tekstfelt 4">
            <a:extLst>
              <a:ext uri="{FF2B5EF4-FFF2-40B4-BE49-F238E27FC236}">
                <a16:creationId xmlns:a16="http://schemas.microsoft.com/office/drawing/2014/main" id="{99FFA608-AAAE-727D-A36C-5589F13B847A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90381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Extra Trees</a:t>
            </a:r>
          </a:p>
          <a:p>
            <a:r>
              <a:rPr lang="da-DK" sz="1400" dirty="0"/>
              <a:t>Kan ikke bruges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9%.</a:t>
            </a:r>
          </a:p>
          <a:p>
            <a:pPr marL="0" indent="0">
              <a:buNone/>
            </a:pPr>
            <a:endParaRPr lang="da-DK" sz="1400" dirty="0"/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9FCE6B10-6098-5AE3-DA8A-5C9992F1EBD5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A78E324C-CFFC-212F-E30B-D82603E808C3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4FC07AF1-091A-B256-60DF-F35C42C799C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8EFD2CED-7029-B19C-E04C-7048D86F4EEC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F9AA191F-C810-EE53-1AD3-865311986379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C160D740-FE81-150B-469D-C2F0D0D5285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548E9B5D-CE5F-D187-3C9B-62298381CFD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5" name="Tekstfelt 4">
            <a:extLst>
              <a:ext uri="{FF2B5EF4-FFF2-40B4-BE49-F238E27FC236}">
                <a16:creationId xmlns:a16="http://schemas.microsoft.com/office/drawing/2014/main" id="{F67E4057-FC2E-6FBD-435A-DB6A70B2A94D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3031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5CA449-E3EB-0DD4-6908-6F7AA75DB9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0750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5CA449-E3EB-0DD4-6908-6F7AA75DB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86694" y="2659200"/>
            <a:ext cx="9218612" cy="1539600"/>
          </a:xfrm>
        </p:spPr>
        <p:txBody>
          <a:bodyPr vert="horz" anchor="t"/>
          <a:lstStyle/>
          <a:p>
            <a:pPr algn="l">
              <a:lnSpc>
                <a:spcPct val="100000"/>
              </a:lnSpc>
            </a:pPr>
            <a:r>
              <a:rPr lang="da-DK" sz="32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Kan maskinlæringsmodeller præcist forudsige marginer og risici på tværs af ELCONs forskellige entrepriseprojekter?</a:t>
            </a:r>
            <a:br>
              <a:rPr lang="da-DK" sz="3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da-DK" sz="7200" dirty="0"/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4CA452FA-BA94-3A20-0CC0-D01DB3A1901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787488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Kombination af RF og ET</a:t>
            </a:r>
          </a:p>
          <a:p>
            <a:r>
              <a:rPr lang="da-DK" sz="1400" dirty="0"/>
              <a:t>Modellernes fejl udligner ikke hinanden, og en kombination kan ikke bruges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8,6%.</a:t>
            </a:r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5EE4A894-F3E2-7E46-25D5-19BA815AE348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C932BB51-4EC3-E0DD-E40F-5CFB80C10001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A08FAB19-E979-DC7C-C8AC-E9917428B9CF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DC14C248-BE2F-C3AB-C9BB-3C8E1EC1E3A5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B04536E9-B2F0-618D-1635-5D80AAD1D14D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D8AD2B14-9CAE-824A-3A59-0FD9B3C707B4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F688A2E3-259E-FCA4-6554-31909AB50B18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5" name="Tekstfelt 4">
            <a:extLst>
              <a:ext uri="{FF2B5EF4-FFF2-40B4-BE49-F238E27FC236}">
                <a16:creationId xmlns:a16="http://schemas.microsoft.com/office/drawing/2014/main" id="{3FD8AF25-7121-C916-32E7-0A0A15DDE18A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9182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Gradient </a:t>
            </a:r>
            <a:r>
              <a:rPr lang="da-DK" b="1" dirty="0" err="1"/>
              <a:t>Boosting</a:t>
            </a:r>
            <a:endParaRPr lang="da-DK" b="1" dirty="0"/>
          </a:p>
          <a:p>
            <a:r>
              <a:rPr lang="da-DK" sz="1400" dirty="0"/>
              <a:t>Ikke brugbar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5,3%.</a:t>
            </a:r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31F2D251-2F21-8000-F664-E25911CC3DCD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EF6E6DEF-6EA7-6F28-4855-5425E72BEC0C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097AF8F0-D7DE-5C83-9739-3B5C7339BAC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2E011D40-D3A8-1024-5073-D3D80A47C675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D2A87D49-7B50-B2D2-0BF1-F947980DF341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54281978-EC0B-F88C-96E6-3D2A01E2432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2AE9135B-80BA-C0D6-03FF-A21D84BB98C1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5" name="Tekstfelt 4">
            <a:extLst>
              <a:ext uri="{FF2B5EF4-FFF2-40B4-BE49-F238E27FC236}">
                <a16:creationId xmlns:a16="http://schemas.microsoft.com/office/drawing/2014/main" id="{230DE210-89D4-1412-323A-451A3F7B173D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57743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XG Boost</a:t>
            </a:r>
          </a:p>
          <a:p>
            <a:r>
              <a:rPr lang="da-DK" sz="1400" dirty="0"/>
              <a:t>Ikke brugbar.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3,6%.</a:t>
            </a:r>
          </a:p>
          <a:p>
            <a:endParaRPr lang="da-DK" sz="1400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08EB63F5-7D22-2AF7-0A37-50EB6A5CBA1B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84E61439-8E7B-01AC-CDFB-856F16148516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EE29CEC1-AA7B-A122-8EE9-25D342D1310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0C488EE9-BD68-9727-9677-97FCC5F95203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151EC8C6-182D-C147-EE5D-AC1D24A45A35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DDE667FF-1DF2-19FE-7653-DD39B08E1AD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7796A3B2-6AA3-0A48-8B9C-2F8C5AA810C0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5" name="Tekstfelt 4">
            <a:extLst>
              <a:ext uri="{FF2B5EF4-FFF2-40B4-BE49-F238E27FC236}">
                <a16:creationId xmlns:a16="http://schemas.microsoft.com/office/drawing/2014/main" id="{A10881F6-DD82-2807-5A67-6B8716A0361C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531835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Kombination af GB og XGB</a:t>
            </a:r>
          </a:p>
          <a:p>
            <a:r>
              <a:rPr lang="da-DK" sz="1400" dirty="0"/>
              <a:t>Modellernes fejl udligner ikke hinanden, og en kombination kan ikke bruges</a:t>
            </a:r>
          </a:p>
          <a:p>
            <a:r>
              <a:rPr lang="da-DK" sz="1400" dirty="0"/>
              <a:t>Gennemsnitlig procentvis absolut afvigelse </a:t>
            </a:r>
            <a:r>
              <a:rPr lang="da-DK" sz="1400" i="1" dirty="0"/>
              <a:t>(1)</a:t>
            </a:r>
            <a:r>
              <a:rPr lang="da-DK" sz="1400" dirty="0"/>
              <a:t> på 55,2%.</a:t>
            </a:r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3" name="Gruppe 2">
            <a:extLst>
              <a:ext uri="{FF2B5EF4-FFF2-40B4-BE49-F238E27FC236}">
                <a16:creationId xmlns:a16="http://schemas.microsoft.com/office/drawing/2014/main" id="{BFAFBC63-C47E-E630-039E-502650DA96E5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78E4443C-CBB9-4BE2-B4F9-AC9BFD7E42A9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35EA3651-1077-7280-0D68-85A2183D8DE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2FC71AE6-B195-2B74-BAF4-5C1F10ADB62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9A172D8B-3850-ECBC-94B0-815F63043895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9" name="Billede 8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BB6A5C54-C019-1B54-73CD-77D744DC84A3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6228D2F9-3EC3-3DF9-68B7-559C6639E3AE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5" name="Tekstfelt 4">
            <a:extLst>
              <a:ext uri="{FF2B5EF4-FFF2-40B4-BE49-F238E27FC236}">
                <a16:creationId xmlns:a16="http://schemas.microsoft.com/office/drawing/2014/main" id="{976759E0-7BC7-F365-621C-05356F0430AC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72786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FBFA525-500E-18C1-4247-C00AF685E7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8159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BFA525-500E-18C1-4247-C00AF685E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11FE1D-FF86-0AFA-5921-A013D2808BA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a-DK" dirty="0"/>
              <a:t>Deep Learning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25636DF-3A30-B0AE-26C2-D17CA8C76E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4580729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Valg af batch </a:t>
            </a:r>
            <a:r>
              <a:rPr lang="da-DK" b="1" dirty="0" err="1"/>
              <a:t>size</a:t>
            </a:r>
            <a:endParaRPr lang="da-DK" b="1" dirty="0"/>
          </a:p>
          <a:p>
            <a:r>
              <a:rPr lang="da-DK" sz="1400" dirty="0"/>
              <a:t>Batch </a:t>
            </a:r>
            <a:r>
              <a:rPr lang="da-DK" sz="1400" dirty="0" err="1"/>
              <a:t>size</a:t>
            </a:r>
            <a:r>
              <a:rPr lang="da-DK" sz="1400" dirty="0"/>
              <a:t> har indflydelse på hvor mange observationer modellen ser, før den kommer med en prædiktion.</a:t>
            </a:r>
          </a:p>
          <a:p>
            <a:r>
              <a:rPr lang="da-DK" sz="1400" dirty="0"/>
              <a:t>Modellen performer generelt lige godt ved 32 og 64, så på baggrund af </a:t>
            </a:r>
            <a:r>
              <a:rPr lang="da-DK" sz="1400" dirty="0" err="1"/>
              <a:t>loss</a:t>
            </a:r>
            <a:r>
              <a:rPr lang="da-DK" sz="1400" dirty="0"/>
              <a:t> er der ingen klar vinder.</a:t>
            </a:r>
          </a:p>
          <a:p>
            <a:r>
              <a:rPr lang="da-DK" sz="1400" dirty="0"/>
              <a:t>Batch </a:t>
            </a:r>
            <a:r>
              <a:rPr lang="da-DK" sz="1400" dirty="0" err="1"/>
              <a:t>size</a:t>
            </a:r>
            <a:r>
              <a:rPr lang="da-DK" sz="1400" dirty="0"/>
              <a:t> 32 er </a:t>
            </a:r>
            <a:r>
              <a:rPr lang="da-DK" sz="1400" dirty="0" err="1"/>
              <a:t>ceteris</a:t>
            </a:r>
            <a:r>
              <a:rPr lang="da-DK" sz="1400" dirty="0"/>
              <a:t> paribus hurtigere i alle aspekter, og derfor vælges denne.</a:t>
            </a:r>
          </a:p>
          <a:p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99425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 err="1"/>
              <a:t>Loss</a:t>
            </a:r>
            <a:r>
              <a:rPr lang="da-DK" b="1" dirty="0"/>
              <a:t> på mest optimale model</a:t>
            </a:r>
          </a:p>
          <a:p>
            <a:r>
              <a:rPr lang="da-DK" sz="1400" dirty="0"/>
              <a:t>Det mest væsentlige er at vores model konvergerer mod en stabil fejl . </a:t>
            </a:r>
          </a:p>
          <a:p>
            <a:r>
              <a:rPr lang="da-DK" sz="1400" dirty="0"/>
              <a:t>Den grønne linje indikerer fejlen ved træningsdata, og viser overvejende konvergens efter 400 iterationer.</a:t>
            </a:r>
          </a:p>
          <a:p>
            <a:r>
              <a:rPr lang="da-DK" sz="1400" dirty="0"/>
              <a:t>Ved etablering kan modellen nøjes med at blive trænet over 400 iterationer for at spare tid.</a:t>
            </a:r>
            <a:endParaRPr lang="da-DK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 r:link="rId8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84406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ultater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9974A259-DC86-27AE-073B-E1B517848965}"/>
              </a:ext>
            </a:extLst>
          </p:cNvPr>
          <p:cNvSpPr txBox="1">
            <a:spLocks/>
          </p:cNvSpPr>
          <p:nvPr/>
        </p:nvSpPr>
        <p:spPr>
          <a:xfrm>
            <a:off x="658813" y="1088631"/>
            <a:ext cx="255822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b="1" dirty="0"/>
              <a:t>LSTM</a:t>
            </a:r>
          </a:p>
          <a:p>
            <a:r>
              <a:rPr lang="da-DK" sz="1400" dirty="0"/>
              <a:t>Den bedste model i undersøgelsen.</a:t>
            </a:r>
          </a:p>
          <a:p>
            <a:endParaRPr lang="da-DK" sz="1400" dirty="0"/>
          </a:p>
          <a:p>
            <a:endParaRPr lang="da-DK" dirty="0"/>
          </a:p>
          <a:p>
            <a:pPr lvl="1"/>
            <a:endParaRPr lang="da-DK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5735F-E063-4678-D02A-CBB56F4610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 r:link="rId12"/>
              </a:ext>
            </a:extLst>
          </a:blip>
          <a:srcRect/>
          <a:stretch>
            <a:fillRect/>
          </a:stretch>
        </p:blipFill>
        <p:spPr>
          <a:xfrm>
            <a:off x="3217038" y="1269000"/>
            <a:ext cx="8640000" cy="4320000"/>
          </a:xfrm>
          <a:prstGeom prst="rect">
            <a:avLst/>
          </a:prstGeom>
        </p:spPr>
      </p:pic>
      <p:grpSp>
        <p:nvGrpSpPr>
          <p:cNvPr id="17" name="Gruppe 16">
            <a:extLst>
              <a:ext uri="{FF2B5EF4-FFF2-40B4-BE49-F238E27FC236}">
                <a16:creationId xmlns:a16="http://schemas.microsoft.com/office/drawing/2014/main" id="{10F59439-F178-88C9-E1FD-A924AB5C04BB}"/>
              </a:ext>
            </a:extLst>
          </p:cNvPr>
          <p:cNvGrpSpPr/>
          <p:nvPr/>
        </p:nvGrpSpPr>
        <p:grpSpPr>
          <a:xfrm>
            <a:off x="8103489" y="6128428"/>
            <a:ext cx="3964686" cy="499745"/>
            <a:chOff x="6943828" y="6263303"/>
            <a:chExt cx="3964686" cy="499745"/>
          </a:xfrm>
        </p:grpSpPr>
        <p:grpSp>
          <p:nvGrpSpPr>
            <p:cNvPr id="14" name="Gruppe 13">
              <a:extLst>
                <a:ext uri="{FF2B5EF4-FFF2-40B4-BE49-F238E27FC236}">
                  <a16:creationId xmlns:a16="http://schemas.microsoft.com/office/drawing/2014/main" id="{A61805FC-02CE-AC80-5B55-83C2649F5B0C}"/>
                </a:ext>
              </a:extLst>
            </p:cNvPr>
            <p:cNvGrpSpPr/>
            <p:nvPr/>
          </p:nvGrpSpPr>
          <p:grpSpPr>
            <a:xfrm>
              <a:off x="9092948" y="6263303"/>
              <a:ext cx="1815566" cy="438938"/>
              <a:chOff x="9092948" y="6263303"/>
              <a:chExt cx="1815566" cy="438938"/>
            </a:xfrm>
          </p:grpSpPr>
          <p:pic>
            <p:nvPicPr>
              <p:cNvPr id="11" name="Billede 10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6D2D7255-4A85-9D5A-8465-7A6156C173C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 rotWithShape="1">
              <a:blip r:embed="rId13"/>
              <a:srcRect t="48801" r="42227"/>
              <a:stretch/>
            </p:blipFill>
            <p:spPr>
              <a:xfrm>
                <a:off x="9092948" y="6263304"/>
                <a:ext cx="1591094" cy="438937"/>
              </a:xfrm>
              <a:prstGeom prst="rect">
                <a:avLst/>
              </a:prstGeom>
            </p:spPr>
          </p:pic>
          <p:pic>
            <p:nvPicPr>
              <p:cNvPr id="13" name="Billede 12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755B8079-73C9-10CC-12FA-2A6772D21A37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 rotWithShape="1">
              <a:blip r:embed="rId13"/>
              <a:srcRect l="91849" t="48801"/>
              <a:stretch/>
            </p:blipFill>
            <p:spPr>
              <a:xfrm>
                <a:off x="10684047" y="6263303"/>
                <a:ext cx="224467" cy="438937"/>
              </a:xfrm>
              <a:prstGeom prst="rect">
                <a:avLst/>
              </a:prstGeom>
            </p:spPr>
          </p:pic>
        </p:grpSp>
        <p:grpSp>
          <p:nvGrpSpPr>
            <p:cNvPr id="16" name="Gruppe 15">
              <a:extLst>
                <a:ext uri="{FF2B5EF4-FFF2-40B4-BE49-F238E27FC236}">
                  <a16:creationId xmlns:a16="http://schemas.microsoft.com/office/drawing/2014/main" id="{AAEC43C7-61F7-9119-1A98-8B7058A1BE12}"/>
                </a:ext>
              </a:extLst>
            </p:cNvPr>
            <p:cNvGrpSpPr/>
            <p:nvPr/>
          </p:nvGrpSpPr>
          <p:grpSpPr>
            <a:xfrm>
              <a:off x="6943828" y="6344662"/>
              <a:ext cx="1895852" cy="418386"/>
              <a:chOff x="2162739" y="6345382"/>
              <a:chExt cx="1895852" cy="418386"/>
            </a:xfrm>
          </p:grpSpPr>
          <p:pic>
            <p:nvPicPr>
              <p:cNvPr id="10" name="Billede 9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05AA19C0-EA5B-042E-7555-6240F7BA2AA3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 rotWithShape="1">
              <a:blip r:embed="rId13"/>
              <a:srcRect r="42226" b="51199"/>
              <a:stretch/>
            </p:blipFill>
            <p:spPr>
              <a:xfrm>
                <a:off x="2162739" y="6345382"/>
                <a:ext cx="1591114" cy="418386"/>
              </a:xfrm>
              <a:prstGeom prst="rect">
                <a:avLst/>
              </a:prstGeom>
            </p:spPr>
          </p:pic>
          <p:pic>
            <p:nvPicPr>
              <p:cNvPr id="15" name="Billede 14" descr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 title="IguanaTex Bitmap Display">
                <a:extLst>
                  <a:ext uri="{FF2B5EF4-FFF2-40B4-BE49-F238E27FC236}">
                    <a16:creationId xmlns:a16="http://schemas.microsoft.com/office/drawing/2014/main" id="{1FA4AE78-B6D8-BB42-EE2F-B8D36791606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13"/>
              <a:srcRect l="91849" b="51199"/>
              <a:stretch/>
            </p:blipFill>
            <p:spPr>
              <a:xfrm>
                <a:off x="3834123" y="6345382"/>
                <a:ext cx="224468" cy="418386"/>
              </a:xfrm>
              <a:prstGeom prst="rect">
                <a:avLst/>
              </a:prstGeom>
            </p:spPr>
          </p:pic>
        </p:grpSp>
      </p:grpSp>
      <p:sp>
        <p:nvSpPr>
          <p:cNvPr id="3" name="Tekstfelt 2">
            <a:extLst>
              <a:ext uri="{FF2B5EF4-FFF2-40B4-BE49-F238E27FC236}">
                <a16:creationId xmlns:a16="http://schemas.microsoft.com/office/drawing/2014/main" id="{72FE5681-6A1A-0FBD-E92B-C65A808E7892}"/>
              </a:ext>
            </a:extLst>
          </p:cNvPr>
          <p:cNvSpPr txBox="1"/>
          <p:nvPr/>
        </p:nvSpPr>
        <p:spPr>
          <a:xfrm>
            <a:off x="658814" y="5282593"/>
            <a:ext cx="2558224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ennemsnitlig procentvis absolut 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1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65.79%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vadratrod af gennemsnitlig kvadratafvigelse </a:t>
            </a:r>
            <a:r>
              <a:rPr lang="da-DK" sz="1200" i="1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2)</a:t>
            </a:r>
            <a:r>
              <a:rPr lang="da-DK" sz="1200" dirty="0">
                <a:solidFill>
                  <a:schemeClr val="accent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å 1.14</a:t>
            </a:r>
          </a:p>
          <a:p>
            <a:pPr marL="0" indent="0" algn="l">
              <a:buNone/>
            </a:pPr>
            <a:endParaRPr lang="da-D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40683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7083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6</a:t>
              </a:r>
            </a:p>
          </p:txBody>
        </p:sp>
      </p:grpSp>
      <p:pic>
        <p:nvPicPr>
          <p:cNvPr id="23" name="Pladsholder til billede 22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0B637C6C-456C-8023-CD6E-7BBDBDCB184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8089446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963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Diskussion af resultater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DEC53627-8BE2-118B-148A-8A775CEDD3D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a-DK" dirty="0"/>
              <a:t>Hvordan vurderer man om modellerne er præcise nok? </a:t>
            </a:r>
          </a:p>
          <a:p>
            <a:pPr lvl="1"/>
            <a:r>
              <a:rPr lang="da-DK" dirty="0"/>
              <a:t>Skal det kombineres med en vurdering af </a:t>
            </a:r>
            <a:r>
              <a:rPr lang="da-DK" dirty="0" err="1"/>
              <a:t>VaR</a:t>
            </a:r>
            <a:r>
              <a:rPr lang="da-DK" dirty="0"/>
              <a:t>?</a:t>
            </a:r>
          </a:p>
          <a:p>
            <a:r>
              <a:rPr lang="da-DK" dirty="0"/>
              <a:t>Kan modellernes forudsigelser benyttes til at skabe bedre resultater?</a:t>
            </a:r>
          </a:p>
          <a:p>
            <a:r>
              <a:rPr lang="da-DK" dirty="0"/>
              <a:t>Giver det mening at erstatte en subjektiv risikovurdering med en objektiv?</a:t>
            </a:r>
          </a:p>
          <a:p>
            <a:pPr lvl="1"/>
            <a:r>
              <a:rPr lang="da-DK" dirty="0"/>
              <a:t>Kan de to metoder koeksistere?</a:t>
            </a:r>
          </a:p>
          <a:p>
            <a:r>
              <a:rPr lang="da-DK" dirty="0"/>
              <a:t>Vil beslutningstagerne i virksomheden have tillid til modellen?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72108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A4F5744-822E-272D-9EB9-E4CFFB864E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6140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A4F5744-822E-272D-9EB9-E4CFFB864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uppe 24">
            <a:extLst>
              <a:ext uri="{FF2B5EF4-FFF2-40B4-BE49-F238E27FC236}">
                <a16:creationId xmlns:a16="http://schemas.microsoft.com/office/drawing/2014/main" id="{A2C2722A-AD85-3EE8-5CAB-992F35AC1BCE}"/>
              </a:ext>
            </a:extLst>
          </p:cNvPr>
          <p:cNvGrpSpPr/>
          <p:nvPr/>
        </p:nvGrpSpPr>
        <p:grpSpPr>
          <a:xfrm>
            <a:off x="3574247" y="1629733"/>
            <a:ext cx="2170921" cy="3096232"/>
            <a:chOff x="3396612" y="1644256"/>
            <a:chExt cx="2170921" cy="3096232"/>
          </a:xfrm>
        </p:grpSpPr>
        <p:sp>
          <p:nvSpPr>
            <p:cNvPr id="12" name="TextBox 5 - 1">
              <a:extLst>
                <a:ext uri="{FF2B5EF4-FFF2-40B4-BE49-F238E27FC236}">
                  <a16:creationId xmlns:a16="http://schemas.microsoft.com/office/drawing/2014/main" id="{2E5DBFB2-6254-4D85-BA12-9421EF5CB27B}"/>
                </a:ext>
              </a:extLst>
            </p:cNvPr>
            <p:cNvSpPr txBox="1">
              <a:spLocks/>
            </p:cNvSpPr>
            <p:nvPr/>
          </p:nvSpPr>
          <p:spPr>
            <a:xfrm>
              <a:off x="3396612" y="1644256"/>
              <a:ext cx="431208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B</a:t>
              </a:r>
            </a:p>
          </p:txBody>
        </p:sp>
        <p:sp>
          <p:nvSpPr>
            <p:cNvPr id="22" name="Pladsholder til indhold 8">
              <a:extLst>
                <a:ext uri="{FF2B5EF4-FFF2-40B4-BE49-F238E27FC236}">
                  <a16:creationId xmlns:a16="http://schemas.microsoft.com/office/drawing/2014/main" id="{E8C399C7-C1E5-D310-9507-782E9AC692AD}"/>
                </a:ext>
              </a:extLst>
            </p:cNvPr>
            <p:cNvSpPr txBox="1">
              <a:spLocks/>
            </p:cNvSpPr>
            <p:nvPr/>
          </p:nvSpPr>
          <p:spPr>
            <a:xfrm>
              <a:off x="3396612" y="2392153"/>
              <a:ext cx="2170921" cy="234833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itchFamily="34" charset="0"/>
                <a:buNone/>
              </a:pPr>
              <a:r>
                <a:rPr lang="da-DK" b="1" dirty="0"/>
                <a:t>Forudsigelser</a:t>
              </a:r>
            </a:p>
            <a:p>
              <a:pPr marL="0" indent="0">
                <a:buFont typeface="Arial" pitchFamily="34" charset="0"/>
                <a:buNone/>
              </a:pPr>
              <a:r>
                <a:rPr lang="da-DK" sz="16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Grundlaget for beslutningstagning er et fuldt informationssæt. Forudsætningen for dette er forudsigelser med tilstrækkelig lav fejlmargin, både frem i tiden, men også på tværs af projekter.</a:t>
              </a:r>
            </a:p>
          </p:txBody>
        </p:sp>
      </p:grpSp>
      <p:grpSp>
        <p:nvGrpSpPr>
          <p:cNvPr id="31" name="Gruppe 30">
            <a:extLst>
              <a:ext uri="{FF2B5EF4-FFF2-40B4-BE49-F238E27FC236}">
                <a16:creationId xmlns:a16="http://schemas.microsoft.com/office/drawing/2014/main" id="{F20FA6EF-6A98-C6F0-3793-BC9C516343D7}"/>
              </a:ext>
            </a:extLst>
          </p:cNvPr>
          <p:cNvGrpSpPr/>
          <p:nvPr/>
        </p:nvGrpSpPr>
        <p:grpSpPr>
          <a:xfrm>
            <a:off x="6446831" y="1629733"/>
            <a:ext cx="2170921" cy="2653034"/>
            <a:chOff x="6064561" y="1644256"/>
            <a:chExt cx="2170921" cy="2653034"/>
          </a:xfrm>
        </p:grpSpPr>
        <p:sp>
          <p:nvSpPr>
            <p:cNvPr id="11" name="TextBox 5 - 2">
              <a:extLst>
                <a:ext uri="{FF2B5EF4-FFF2-40B4-BE49-F238E27FC236}">
                  <a16:creationId xmlns:a16="http://schemas.microsoft.com/office/drawing/2014/main" id="{F2D1ABE1-5DEA-4BC7-A383-C87624EBC8FE}"/>
                </a:ext>
              </a:extLst>
            </p:cNvPr>
            <p:cNvSpPr txBox="1">
              <a:spLocks/>
            </p:cNvSpPr>
            <p:nvPr/>
          </p:nvSpPr>
          <p:spPr>
            <a:xfrm>
              <a:off x="6064561" y="1644256"/>
              <a:ext cx="403957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C</a:t>
              </a:r>
            </a:p>
          </p:txBody>
        </p:sp>
        <p:sp>
          <p:nvSpPr>
            <p:cNvPr id="23" name="Pladsholder til indhold 8">
              <a:extLst>
                <a:ext uri="{FF2B5EF4-FFF2-40B4-BE49-F238E27FC236}">
                  <a16:creationId xmlns:a16="http://schemas.microsoft.com/office/drawing/2014/main" id="{A2CF2E1D-7AB4-1494-0202-03BB4783B61A}"/>
                </a:ext>
              </a:extLst>
            </p:cNvPr>
            <p:cNvSpPr txBox="1">
              <a:spLocks/>
            </p:cNvSpPr>
            <p:nvPr/>
          </p:nvSpPr>
          <p:spPr>
            <a:xfrm>
              <a:off x="6064561" y="2392153"/>
              <a:ext cx="2170921" cy="190513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itchFamily="34" charset="0"/>
                <a:buNone/>
              </a:pPr>
              <a:r>
                <a:rPr lang="da-DK" b="1" dirty="0"/>
                <a:t>Marginer</a:t>
              </a:r>
            </a:p>
            <a:p>
              <a:pPr marL="0" indent="0">
                <a:buFont typeface="Arial" pitchFamily="34" charset="0"/>
                <a:buNone/>
              </a:pPr>
              <a:r>
                <a:rPr lang="da-DK" sz="16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En nøjagtig forudsigelse og vurdering af marginer er afgørende for at optimere økonomisk ydeevne og bæredygtighed for byggeprojekter.</a:t>
              </a:r>
            </a:p>
          </p:txBody>
        </p:sp>
      </p:grpSp>
      <p:grpSp>
        <p:nvGrpSpPr>
          <p:cNvPr id="32" name="Gruppe 31">
            <a:extLst>
              <a:ext uri="{FF2B5EF4-FFF2-40B4-BE49-F238E27FC236}">
                <a16:creationId xmlns:a16="http://schemas.microsoft.com/office/drawing/2014/main" id="{B875996F-D7A7-7CE3-9681-69F3418BF28D}"/>
              </a:ext>
            </a:extLst>
          </p:cNvPr>
          <p:cNvGrpSpPr/>
          <p:nvPr/>
        </p:nvGrpSpPr>
        <p:grpSpPr>
          <a:xfrm>
            <a:off x="9319415" y="1629733"/>
            <a:ext cx="2170921" cy="3345531"/>
            <a:chOff x="8693236" y="1644256"/>
            <a:chExt cx="2170921" cy="3345531"/>
          </a:xfrm>
        </p:grpSpPr>
        <p:sp>
          <p:nvSpPr>
            <p:cNvPr id="13" name="TextBox 5 - 3">
              <a:extLst>
                <a:ext uri="{FF2B5EF4-FFF2-40B4-BE49-F238E27FC236}">
                  <a16:creationId xmlns:a16="http://schemas.microsoft.com/office/drawing/2014/main" id="{E13D7B49-6DD3-43C3-9A2E-E2BA90A74A41}"/>
                </a:ext>
              </a:extLst>
            </p:cNvPr>
            <p:cNvSpPr txBox="1">
              <a:spLocks/>
            </p:cNvSpPr>
            <p:nvPr/>
          </p:nvSpPr>
          <p:spPr>
            <a:xfrm>
              <a:off x="8693236" y="1644256"/>
              <a:ext cx="47769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sz="5400" b="1">
                  <a:solidFill>
                    <a:schemeClr val="accent5"/>
                  </a:solidFill>
                </a:rPr>
                <a:t>D</a:t>
              </a:r>
              <a:endParaRPr lang="da-DK" sz="5400" b="1" dirty="0">
                <a:solidFill>
                  <a:schemeClr val="accent5"/>
                </a:solidFill>
              </a:endParaRPr>
            </a:p>
          </p:txBody>
        </p:sp>
        <p:sp>
          <p:nvSpPr>
            <p:cNvPr id="24" name="Pladsholder til indhold 8">
              <a:extLst>
                <a:ext uri="{FF2B5EF4-FFF2-40B4-BE49-F238E27FC236}">
                  <a16:creationId xmlns:a16="http://schemas.microsoft.com/office/drawing/2014/main" id="{B7CB5A19-F73E-89F5-3B99-742957B1CF2B}"/>
                </a:ext>
              </a:extLst>
            </p:cNvPr>
            <p:cNvSpPr txBox="1">
              <a:spLocks/>
            </p:cNvSpPr>
            <p:nvPr/>
          </p:nvSpPr>
          <p:spPr>
            <a:xfrm>
              <a:off x="8693236" y="2419853"/>
              <a:ext cx="2170921" cy="256993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itchFamily="34" charset="0"/>
                <a:buNone/>
              </a:pPr>
              <a:r>
                <a:rPr lang="da-DK" b="1" dirty="0"/>
                <a:t>Risici</a:t>
              </a:r>
            </a:p>
            <a:p>
              <a:pPr marL="0" indent="0">
                <a:buFont typeface="Arial" pitchFamily="34" charset="0"/>
                <a:buNone/>
              </a:pPr>
              <a:r>
                <a:rPr lang="da-DK" sz="16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En mere præcis risikovurdering understøttet af maskinlæringsmodeller kan bidrage til at minimere uventede udfordringer og forbedre projektplanlægning og beslutningstagning.</a:t>
              </a:r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BBAB5653-01E6-4085-DCDC-F243ACBDB042}"/>
              </a:ext>
            </a:extLst>
          </p:cNvPr>
          <p:cNvGrpSpPr/>
          <p:nvPr/>
        </p:nvGrpSpPr>
        <p:grpSpPr>
          <a:xfrm>
            <a:off x="701663" y="1629733"/>
            <a:ext cx="2170921" cy="3228576"/>
            <a:chOff x="3396612" y="1644256"/>
            <a:chExt cx="2170921" cy="3228576"/>
          </a:xfrm>
        </p:grpSpPr>
        <p:sp>
          <p:nvSpPr>
            <p:cNvPr id="27" name="TextBox 5 - 1">
              <a:extLst>
                <a:ext uri="{FF2B5EF4-FFF2-40B4-BE49-F238E27FC236}">
                  <a16:creationId xmlns:a16="http://schemas.microsoft.com/office/drawing/2014/main" id="{FA06AD48-B719-5AE4-1C29-92301241A93A}"/>
                </a:ext>
              </a:extLst>
            </p:cNvPr>
            <p:cNvSpPr txBox="1">
              <a:spLocks/>
            </p:cNvSpPr>
            <p:nvPr/>
          </p:nvSpPr>
          <p:spPr>
            <a:xfrm>
              <a:off x="3396612" y="1644256"/>
              <a:ext cx="45525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A</a:t>
              </a:r>
            </a:p>
          </p:txBody>
        </p:sp>
        <p:sp>
          <p:nvSpPr>
            <p:cNvPr id="28" name="Pladsholder til indhold 8">
              <a:extLst>
                <a:ext uri="{FF2B5EF4-FFF2-40B4-BE49-F238E27FC236}">
                  <a16:creationId xmlns:a16="http://schemas.microsoft.com/office/drawing/2014/main" id="{98D9ED06-1B29-6257-5CA9-5B684C58A0A5}"/>
                </a:ext>
              </a:extLst>
            </p:cNvPr>
            <p:cNvSpPr txBox="1">
              <a:spLocks/>
            </p:cNvSpPr>
            <p:nvPr/>
          </p:nvSpPr>
          <p:spPr>
            <a:xfrm>
              <a:off x="3396612" y="2392153"/>
              <a:ext cx="2170921" cy="248067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b="1" dirty="0"/>
                <a:t>Maskinlærings-modeller</a:t>
              </a:r>
            </a:p>
            <a:p>
              <a:pPr marL="0" indent="0">
                <a:buNone/>
              </a:pPr>
              <a:r>
                <a:rPr lang="da-DK" sz="1600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De konventionelle metoder, der i øjeblikket anvendes, har vist sig utilstrækkelige til at tackle den komplekse og dynamiske karakter af byggeprojekter.</a:t>
              </a:r>
            </a:p>
            <a:p>
              <a:pPr marL="0" indent="0">
                <a:buFont typeface="Arial" pitchFamily="34" charset="0"/>
                <a:buNone/>
              </a:pPr>
              <a:endParaRPr lang="da-DK" sz="1600" dirty="0"/>
            </a:p>
          </p:txBody>
        </p:sp>
      </p:grpSp>
      <p:sp>
        <p:nvSpPr>
          <p:cNvPr id="6" name="Titel 1">
            <a:extLst>
              <a:ext uri="{FF2B5EF4-FFF2-40B4-BE49-F238E27FC236}">
                <a16:creationId xmlns:a16="http://schemas.microsoft.com/office/drawing/2014/main" id="{A84F8E7E-72E1-5233-0246-C698E7D7D176}"/>
              </a:ext>
            </a:extLst>
          </p:cNvPr>
          <p:cNvSpPr txBox="1">
            <a:spLocks/>
          </p:cNvSpPr>
          <p:nvPr/>
        </p:nvSpPr>
        <p:spPr>
          <a:xfrm>
            <a:off x="982663" y="220302"/>
            <a:ext cx="10874375" cy="63337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b="1" kern="1200" spc="1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Problemformulering</a:t>
            </a:r>
          </a:p>
        </p:txBody>
      </p:sp>
    </p:spTree>
    <p:extLst>
      <p:ext uri="{BB962C8B-B14F-4D97-AF65-F5344CB8AC3E}">
        <p14:creationId xmlns:p14="http://schemas.microsoft.com/office/powerpoint/2010/main" val="6375030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0474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Problemformulering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a-DK" b="1" dirty="0"/>
              <a:t>Maskinlæringsmodeller</a:t>
            </a:r>
            <a:endParaRPr lang="da-DK" sz="1600" dirty="0"/>
          </a:p>
          <a:p>
            <a:pPr lvl="1">
              <a:lnSpc>
                <a:spcPct val="100000"/>
              </a:lnSpc>
            </a:pPr>
            <a:r>
              <a:rPr lang="da-DK" sz="1600" dirty="0"/>
              <a:t>Bygge- og anlægsbranchen, herunder ELCONs Entrepriseforretning, står over for talrige udfordringer, såsom begrænsede marginer, hyppige budgetoverskridelser og svingende produktivitetsmålinger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 konventionelle metoder, der i øjeblikket anvendes, har vist sig utilstrækkelige til at tackle den komplekse og dynamiske karakter af byggeprojekter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tte nødvendiggør udforskningen af mere avancerede og integrerede tilgange for bedre at styre og forudsige projektresultater.</a:t>
            </a:r>
          </a:p>
          <a:p>
            <a:pPr>
              <a:lnSpc>
                <a:spcPct val="100000"/>
              </a:lnSpc>
            </a:pPr>
            <a:r>
              <a:rPr lang="da-DK" b="1" dirty="0"/>
              <a:t>Forudsigelser</a:t>
            </a:r>
            <a:endParaRPr lang="da-DK" sz="1600" dirty="0"/>
          </a:p>
          <a:p>
            <a:pPr lvl="1">
              <a:lnSpc>
                <a:spcPct val="100000"/>
              </a:lnSpc>
            </a:pPr>
            <a:r>
              <a:rPr lang="da-DK" sz="1600" dirty="0"/>
              <a:t>Kernen i denne undersøgelse er det centrale forskningsspørgsmål: Kan maskinlæringsmodeller nøjagtigt forudsige marginer og risici ved byggeprojekter?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tte spørgsmål opstår på baggrund af de begrænsninger, der er observeret i de nuværende subjektive risikovurderingspraksis inden for ELCONs Entrepriseforretning, som mangler en formel statistisk grundlag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ivisionens betydelige bidrag til virksomhedens økonomi understreger det presserende behov for en mere robust og tilpasningsdygtig datamodel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En sådan model er forestillet at nøjagtigt evaluere risici, forudsige marginer og støtte mere informerede beslutningstagning, hvilket dermed forbedrer den overordnede styring af byggeprojekter.</a:t>
            </a:r>
          </a:p>
        </p:txBody>
      </p:sp>
    </p:spTree>
    <p:extLst>
      <p:ext uri="{BB962C8B-B14F-4D97-AF65-F5344CB8AC3E}">
        <p14:creationId xmlns:p14="http://schemas.microsoft.com/office/powerpoint/2010/main" val="33535545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Problemformulering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a-DK" b="1" dirty="0"/>
              <a:t>Marginer</a:t>
            </a:r>
            <a:endParaRPr lang="da-DK" sz="1600" dirty="0"/>
          </a:p>
          <a:p>
            <a:pPr lvl="1">
              <a:lnSpc>
                <a:spcPct val="100000"/>
              </a:lnSpc>
            </a:pPr>
            <a:r>
              <a:rPr lang="da-DK" sz="1600" dirty="0"/>
              <a:t>ELCONs Entrepriseforretning står over for udfordringer med at opretholde tilfredsstillende dækningsgrader inden for byggeprojekter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n eksisterende praksis og metoder har vist sig utilstrækkelige til at sikre konsistente og forudsigelige marginer på tværs af projekter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En nøjagtig forudsigelse og vurdering af marginer er afgørende for at optimere økonomisk ydeevne og bæredygtighed for byggeprojekter.</a:t>
            </a:r>
          </a:p>
          <a:p>
            <a:pPr>
              <a:lnSpc>
                <a:spcPct val="100000"/>
              </a:lnSpc>
            </a:pPr>
            <a:r>
              <a:rPr lang="da-DK" b="1" dirty="0"/>
              <a:t>Risici</a:t>
            </a:r>
            <a:endParaRPr lang="da-DK" sz="1600" dirty="0"/>
          </a:p>
          <a:p>
            <a:pPr lvl="1">
              <a:lnSpc>
                <a:spcPct val="100000"/>
              </a:lnSpc>
            </a:pPr>
            <a:r>
              <a:rPr lang="da-DK" sz="1600" dirty="0"/>
              <a:t>Identifikation og vurdering af risici inden for byggeprojekter er en kompleks opgave, der har stor indflydelse på projektets succes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Aktuelle risikovurderingsmetoder inden for ELCONs Entrepriseforretning er baseret på subjektive bedømmelser og mangler en solid statistisk grundlag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En mere præcis risikovurdering understøttet af maskinlæringsmodeller kan bidrage til at minimere uventede udfordringer og forbedre projektplanlægning og beslutningstagning.</a:t>
            </a:r>
          </a:p>
          <a:p>
            <a:pPr lvl="1">
              <a:lnSpc>
                <a:spcPct val="100000"/>
              </a:lnSpc>
            </a:pPr>
            <a:r>
              <a:rPr lang="da-DK" sz="1600" dirty="0"/>
              <a:t>Dette vil øge den overordnede effektivitet og succesrate for byggeprojekter inden for divisionen.</a:t>
            </a:r>
          </a:p>
        </p:txBody>
      </p:sp>
    </p:spTree>
    <p:extLst>
      <p:ext uri="{BB962C8B-B14F-4D97-AF65-F5344CB8AC3E}">
        <p14:creationId xmlns:p14="http://schemas.microsoft.com/office/powerpoint/2010/main" val="1023647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da-DK" dirty="0"/>
              <a:t>Problemformulering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6123F9E9-4EDA-8639-0B90-4D3A855C3D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6342062" cy="50772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b="1" dirty="0"/>
              <a:t>Grundlæggende handler det om at opnå en vurdering af, hvor de igangværende projekter ender.</a:t>
            </a:r>
          </a:p>
          <a:p>
            <a:pPr>
              <a:lnSpc>
                <a:spcPct val="100000"/>
              </a:lnSpc>
            </a:pPr>
            <a:r>
              <a:rPr lang="da-DK" dirty="0"/>
              <a:t>Rapporten tackler dette ved at prognosticere det endelige dækningsbidrag ved projekters afslutning.</a:t>
            </a:r>
          </a:p>
          <a:p>
            <a:pPr lvl="1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Vi træner en model på 80% af de afsluttede projekters karakteristika.</a:t>
            </a:r>
          </a:p>
          <a:p>
            <a:pPr lvl="1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Vi tester modellen præcision på de resterende 20% af de afsluttede projekter.</a:t>
            </a:r>
          </a:p>
          <a:p>
            <a:pPr lvl="1">
              <a:lnSpc>
                <a:spcPct val="100000"/>
              </a:lnSpc>
            </a:pPr>
            <a:r>
              <a:rPr lang="da-DK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De prognosticerede dækningsbidrag sammenlignes med de realiserede, deraf vurderes det om metoderne er brugbare.</a:t>
            </a:r>
          </a:p>
          <a:p>
            <a:pPr>
              <a:lnSpc>
                <a:spcPct val="100000"/>
              </a:lnSpc>
            </a:pPr>
            <a:r>
              <a:rPr lang="da-DK" dirty="0"/>
              <a:t>Vurderes det at en model yder tilfredsstillende, kan vi anvende samme model på de igangværende projekter.</a:t>
            </a:r>
          </a:p>
        </p:txBody>
      </p:sp>
      <p:pic>
        <p:nvPicPr>
          <p:cNvPr id="5" name="Grafik 4" descr="Bullseye kontur">
            <a:extLst>
              <a:ext uri="{FF2B5EF4-FFF2-40B4-BE49-F238E27FC236}">
                <a16:creationId xmlns:a16="http://schemas.microsoft.com/office/drawing/2014/main" id="{056B8A6A-D911-3E3D-B968-FDEBA1F58F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04237" y="1088631"/>
            <a:ext cx="2705100" cy="270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481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3110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da-DK" dirty="0"/>
              <a:t>Agenda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7CEE374C-5917-09BD-B5D9-107D1E3A6ED2}"/>
              </a:ext>
            </a:extLst>
          </p:cNvPr>
          <p:cNvGrpSpPr/>
          <p:nvPr/>
        </p:nvGrpSpPr>
        <p:grpSpPr>
          <a:xfrm>
            <a:off x="982663" y="1522603"/>
            <a:ext cx="4623043" cy="747897"/>
            <a:chOff x="1340133" y="2056828"/>
            <a:chExt cx="4623043" cy="74789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DC222EA-31E5-4543-973D-6351289EEE35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292277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Problemformulering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787AB7F-95DA-4686-8C4E-D8E93F97EFAD}"/>
                </a:ext>
              </a:extLst>
            </p:cNvPr>
            <p:cNvSpPr txBox="1">
              <a:spLocks/>
            </p:cNvSpPr>
            <p:nvPr/>
          </p:nvSpPr>
          <p:spPr>
            <a:xfrm>
              <a:off x="1340133" y="2056828"/>
              <a:ext cx="34304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31A07AD4-F313-5F14-03C6-7AE238C5F9A2}"/>
              </a:ext>
            </a:extLst>
          </p:cNvPr>
          <p:cNvGrpSpPr/>
          <p:nvPr/>
        </p:nvGrpSpPr>
        <p:grpSpPr>
          <a:xfrm>
            <a:off x="982663" y="2300738"/>
            <a:ext cx="4626249" cy="747897"/>
            <a:chOff x="1336927" y="2665920"/>
            <a:chExt cx="4626249" cy="747897"/>
          </a:xfrm>
        </p:grpSpPr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8E492FCB-C2C0-467D-A668-B1FD59DC4F32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2901369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/>
                <a:t>Metode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140DF04-B4DC-4986-9C6D-DDE15FD1CA31}"/>
                </a:ext>
              </a:extLst>
            </p:cNvPr>
            <p:cNvSpPr txBox="1">
              <a:spLocks/>
            </p:cNvSpPr>
            <p:nvPr/>
          </p:nvSpPr>
          <p:spPr>
            <a:xfrm>
              <a:off x="1336927" y="2665920"/>
              <a:ext cx="346249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/>
                  </a:solidFill>
                </a:rPr>
                <a:t>2</a:t>
              </a:r>
            </a:p>
          </p:txBody>
        </p:sp>
      </p:grp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A6020B42-58A9-EAE4-26F1-5165CA82BFCC}"/>
              </a:ext>
            </a:extLst>
          </p:cNvPr>
          <p:cNvGrpSpPr/>
          <p:nvPr/>
        </p:nvGrpSpPr>
        <p:grpSpPr>
          <a:xfrm>
            <a:off x="982663" y="3078873"/>
            <a:ext cx="4618234" cy="747897"/>
            <a:chOff x="1344942" y="3275012"/>
            <a:chExt cx="4618234" cy="747897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BA4467F-4AF6-4FDA-A3A1-6FFF686B5694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3510461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ata</a:t>
              </a: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8EF3D609-41B5-4A56-8942-7DC08C4DC25A}"/>
                </a:ext>
              </a:extLst>
            </p:cNvPr>
            <p:cNvSpPr txBox="1">
              <a:spLocks/>
            </p:cNvSpPr>
            <p:nvPr/>
          </p:nvSpPr>
          <p:spPr>
            <a:xfrm>
              <a:off x="1344942" y="3275012"/>
              <a:ext cx="338234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6" name="Gruppe 15">
            <a:extLst>
              <a:ext uri="{FF2B5EF4-FFF2-40B4-BE49-F238E27FC236}">
                <a16:creationId xmlns:a16="http://schemas.microsoft.com/office/drawing/2014/main" id="{15E5C138-4E2B-EF16-84F2-7070BB9B97CE}"/>
              </a:ext>
            </a:extLst>
          </p:cNvPr>
          <p:cNvGrpSpPr/>
          <p:nvPr/>
        </p:nvGrpSpPr>
        <p:grpSpPr>
          <a:xfrm>
            <a:off x="982663" y="3857008"/>
            <a:ext cx="4645485" cy="747897"/>
            <a:chOff x="1317691" y="3884104"/>
            <a:chExt cx="4645485" cy="747897"/>
          </a:xfrm>
        </p:grpSpPr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702BF8D8-1F1E-4939-B5E8-A6D1C6691326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119553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Analyse</a:t>
              </a:r>
            </a:p>
          </p:txBody>
        </p:sp>
        <p:sp>
          <p:nvSpPr>
            <p:cNvPr id="13" name="TextBox 5">
              <a:extLst>
                <a:ext uri="{FF2B5EF4-FFF2-40B4-BE49-F238E27FC236}">
                  <a16:creationId xmlns:a16="http://schemas.microsoft.com/office/drawing/2014/main" id="{50C5CCBA-0874-4BEE-99C2-CC4082D3A1FF}"/>
                </a:ext>
              </a:extLst>
            </p:cNvPr>
            <p:cNvSpPr txBox="1">
              <a:spLocks/>
            </p:cNvSpPr>
            <p:nvPr/>
          </p:nvSpPr>
          <p:spPr>
            <a:xfrm>
              <a:off x="1317691" y="3884104"/>
              <a:ext cx="36548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5C0F3608-73C1-89D6-DD55-D3BBE3D0DAC4}"/>
              </a:ext>
            </a:extLst>
          </p:cNvPr>
          <p:cNvGrpSpPr/>
          <p:nvPr/>
        </p:nvGrpSpPr>
        <p:grpSpPr>
          <a:xfrm>
            <a:off x="982663" y="4635143"/>
            <a:ext cx="4618233" cy="747897"/>
            <a:chOff x="1344943" y="4493195"/>
            <a:chExt cx="4618233" cy="747897"/>
          </a:xfrm>
        </p:grpSpPr>
        <p:sp>
          <p:nvSpPr>
            <p:cNvPr id="4" name="TextBox 5">
              <a:extLst>
                <a:ext uri="{FF2B5EF4-FFF2-40B4-BE49-F238E27FC236}">
                  <a16:creationId xmlns:a16="http://schemas.microsoft.com/office/drawing/2014/main" id="{17B773D2-7093-DA26-F33E-B2F587C7ADFD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Resultater</a:t>
              </a: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91DA30A7-B235-0097-CCB7-65E8CA40C29B}"/>
                </a:ext>
              </a:extLst>
            </p:cNvPr>
            <p:cNvSpPr txBox="1">
              <a:spLocks/>
            </p:cNvSpPr>
            <p:nvPr/>
          </p:nvSpPr>
          <p:spPr>
            <a:xfrm>
              <a:off x="1344943" y="4493195"/>
              <a:ext cx="338233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5</a:t>
              </a:r>
            </a:p>
          </p:txBody>
        </p:sp>
      </p:grp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A746D0A9-077D-3E6F-A06F-DCF1AEF966A3}"/>
              </a:ext>
            </a:extLst>
          </p:cNvPr>
          <p:cNvGrpSpPr/>
          <p:nvPr/>
        </p:nvGrpSpPr>
        <p:grpSpPr>
          <a:xfrm>
            <a:off x="982663" y="5413277"/>
            <a:ext cx="4661515" cy="747897"/>
            <a:chOff x="1301661" y="4493195"/>
            <a:chExt cx="4661515" cy="747897"/>
          </a:xfrm>
        </p:grpSpPr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D4413DAA-FF4B-72CF-2B47-6E8B26147098}"/>
                </a:ext>
              </a:extLst>
            </p:cNvPr>
            <p:cNvSpPr txBox="1">
              <a:spLocks/>
            </p:cNvSpPr>
            <p:nvPr/>
          </p:nvSpPr>
          <p:spPr>
            <a:xfrm>
              <a:off x="1899176" y="4728644"/>
              <a:ext cx="4064000" cy="27699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Diskussion</a:t>
              </a:r>
            </a:p>
          </p:txBody>
        </p: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7D44CCBE-33B5-1195-B0AA-7EE1E6AD8555}"/>
                </a:ext>
              </a:extLst>
            </p:cNvPr>
            <p:cNvSpPr txBox="1">
              <a:spLocks/>
            </p:cNvSpPr>
            <p:nvPr/>
          </p:nvSpPr>
          <p:spPr>
            <a:xfrm>
              <a:off x="1301661" y="4493195"/>
              <a:ext cx="381515" cy="7478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0000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da-DK" sz="5400" b="1" dirty="0">
                  <a:solidFill>
                    <a:schemeClr val="accent5">
                      <a:lumMod val="40000"/>
                      <a:lumOff val="60000"/>
                    </a:schemeClr>
                  </a:solidFill>
                </a:rPr>
                <a:t>6</a:t>
              </a:r>
            </a:p>
          </p:txBody>
        </p:sp>
      </p:grpSp>
      <p:pic>
        <p:nvPicPr>
          <p:cNvPr id="25" name="Pladsholder til billede 24" descr="Et billede, der indeholder udendørs, sky, køretøj, hjul&#10;&#10;Automatisk genereret beskrivelse">
            <a:extLst>
              <a:ext uri="{FF2B5EF4-FFF2-40B4-BE49-F238E27FC236}">
                <a16:creationId xmlns:a16="http://schemas.microsoft.com/office/drawing/2014/main" id="{47F72850-556D-07BA-2992-E1CAF5869C4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30409" r="3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8769521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POWER_USER_PPT_AGENDA_PRESENTATION_COLOR_TAG" val="#006E6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POWER_USER_PPT_AGENDA_PRESENTATION_TABLE_OF_CONTENT_STYLE_TAG" val="1"/>
  <p:tag name="POWER_USER_PPT_AGENDA_PRESENTATION_DIVIDERS_STYLE_TAG" val="POWER_USER_LAYOUT_DIVIDER_PU_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3,712"/>
  <p:tag name="ORIGINALWIDTH" val="2634,421"/>
  <p:tag name="OUTPUTTYPE" val="PNG"/>
  <p:tag name="IGUANATEXVERSION" val="160"/>
  <p:tag name="LATEXADDIN" val="\documentclass{article}&#10;\usepackage{amsmath}&#10;\pagestyle{empty}&#10;\begin{document}&#10;&#10;&#10;\begin{equation*}&#10;\hat{\boldsymbol{\beta}}_{en}\equiv \underset{\beta}{\text{argmin}} \biggl\{ \lVert \mathbf{Y} - \mathbf{X}\boldsymbol{\beta} \rVert^{2} + \lambda_1 \lVert \boldsymbol{\beta} \rVert  + \lambda_2 \lVert \boldsymbol{\beta} \rVert^2 \biggr\}.&#10;\end{equation*}&#10;&#10;\end{document}"/>
  <p:tag name="IGUANATEXSIZE" val="16"/>
  <p:tag name="IGUANATEXCURSOR" val="81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3,712"/>
  <p:tag name="ORIGINALWIDTH" val="1616,048"/>
  <p:tag name="OUTPUTTYPE" val="PNG"/>
  <p:tag name="IGUANATEXVERSION" val="160"/>
  <p:tag name="LATEXADDIN" val="\documentclass{article}&#10;\usepackage{amsmath}&#10;\pagestyle{empty}&#10;\begin{document}&#10;&#10;&#10;\begin{equation*}&#10;\hat{\boldsymbol{\beta}}_{ols}\equiv \underset{\beta}{\text{argmin}} \biggl\{ \lVert \mathbf{Y} - \mathbf{X}\boldsymbol{\beta} \rVert^{2} \biggr\}.&#10;\end{equation*}&#10;&#10;\end{document}"/>
  <p:tag name="IGUANATEXSIZE" val="16"/>
  <p:tag name="IGUANATEXCURSOR" val="238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00,4499"/>
  <p:tag name="ORIGINALWIDTH" val="1961,005"/>
  <p:tag name="OUTPUTTYPE" val="PNG"/>
  <p:tag name="IGUANATEXVERSION" val="160"/>
  <p:tag name="LATEXADDIN" val="\documentclass{article}&#10;\usepackage{amsmath}&#10;\pagestyle{empty}&#10;\begin{document}&#10;&#10;\begin{equation*}&#10;\Phi(x;\mu,\nu)=\left[1+\left(\frac{x(1-\mu)}{\mu(1-x)}\right)^{-\nu}\right]^{-1}&#10;\end{equation*}&#10;&#10;&#10;\end{document}"/>
  <p:tag name="IGUANATEXSIZE" val="20"/>
  <p:tag name="IGUANATEXCURSOR" val="185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20,772"/>
  <p:tag name="ORIGINALWIDTH" val="3312,336"/>
  <p:tag name="OUTPUTTYPE" val="PNG"/>
  <p:tag name="IGUANATEXVERSION" val="160"/>
  <p:tag name="LATEXADDIN" val="\documentclass{article}&#10;\usepackage{amsmath}&#10;\usepackage{adjustbox}&#10;\usepackage{pgfplots}&#10;&#10;\pgfplotsset{compat = newest}&#10;\definecolor{elcon0}{RGB}{0,110,100} % Defining the color #006e64&#10;\definecolor{elcon1}{RGB}{115,72,72} % Defining the color #734848&#10;\definecolor{elcon2}{RGB}{0,78,74} % Defining the color #004e4a&#10;\definecolor{elcon3}{RGB}{193,113,80} % Defining thcolor #c17150&#10;&#10;\usepackage[margin=0.25in]{geometry}&#10;\usepackage{pgfplots}&#10;\pgfplotsset{width=10cm,compat=1.9}&#10;&#10;% We will externalize the figures&#10;\usepgfplotslibrary{external}&#10;\tikzexternalize&#10;&#10;\begin{document}&#10;&#10;&#10;&#10;\begin{figure}[ht]&#10;\centering&#10;\begin{tikzpicture}&#10;    \begin{axis}[&#10;        xmin = 0, xmax = 1,&#10;        ymin = 0, ymax = 1,&#10;        legend style={at={(0.5,-0.1)},anchor=north}, % Positioning the legend&#10;        legend columns=-1] % For horizontal legend&#10;        \addplot[&#10;            domain = 0:1,&#10;            samples = 200,&#10;            smooth,&#10;            thick,&#10;            color=elcon0, % Using the defined color here&#10;        ] {(1+((x*(1-0.5))/(0.5*(1-x)))^(-1))^(-1)};&#10;        \addlegendentry{$\nu=1$}% Label for the first plot;&#10;        \addplot[&#10;            domain = 0:1,&#10;            samples = 200,&#10;            smooth,&#10;            thick,&#10;            color=elcon1, % Using the defined color here&#10;        ] {(1+((x*(1-0.5))/(0.5*(1-x)))^(-2))^(-1)};&#10;        \addlegendentry{$\nu=2$}% Label for the second plot&#10;        \addplot[&#10;            domain = 0:1,&#10;            samples = 200,&#10;            smooth,&#10;            thick,&#10;            color=elcon3, % Using the defined color here&#10;        ] {(1+((x*(1-0.5))/(0.5*(1-x)))^(-3))^(-1)};&#10;        \addlegendentry{$\nu=3$} % Label for the third plot&#10;        % Dashed with \mu = 0.75&#10;        \addplot[&#10;            domain = 0:1,&#10;            samples = 200,&#10;            dashed,&#10;            thin,&#10;            color=elcon0, % Using the defined color here&#10;        ] {(1+((x*(1-0.6))/(0.6*(1-x)))^(-1))^(-1)};&#10;        \addplot[&#10;            domain = 0:1,&#10;            samples = 200,&#10;            dashed,&#10;            thin,&#10;            color=elcon1, % Using the defined color here&#10;        ] {(1+((x*(1-0.6))/(0.6*(1-x)))^(-2))^(-1)};&#10;        \addplot[&#10;            domain = 0:1,&#10;            samples = 200,&#10;            dashed,&#10;            thin,&#10;            color=elcon3, % Using the defined color here&#10;        ] {(1+((x*(1-0.6))/(0.6*(1-x)))^(-3))^(-1)};&#10;    \end{axis}&#10;\end{tikzpicture}&#10;&#10;\end{figure}&#10;&#10;&#10;&#10;\end{document}"/>
  <p:tag name="IGUANATEXSIZE" val="20"/>
  <p:tag name="IGUANATEXCURSOR" val="2397"/>
  <p:tag name="TRANSPARENCY" val="True"/>
  <p:tag name="LATEXENGINEID" val="0"/>
  <p:tag name="TEMPFOLDER" val="c:\temp\"/>
  <p:tag name="LATEXFORMHEIGHT" val="320"/>
  <p:tag name="LATEXFORMWIDTH" val="38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4,3869"/>
  <p:tag name="ORIGINALWIDTH" val="2911,136"/>
  <p:tag name="OUTPUTTYPE" val="PNG"/>
  <p:tag name="IGUANATEXVERSION" val="160"/>
  <p:tag name="LATEXADDIN" val="\documentclass{article}&#10;\usepackage{amsmath}&#10;\pagestyle{empty}&#10;\begin{document}&#10;&#10;&#10;\begin{equation}&#10;    \text{sMAPE} =\frac{100}{m}\sum_{t=1}^{m} \frac{\vert \hat{y}_{t}-y_{t}\vert}{\vert y_{t} \vert + \vert \hat{y}_{t}\vert}&#10;\end{equation}&#10;&#10;\begin{equation}&#10;\text{RMSE} = \sqrt{\frac{1}{m}\sum_{t=1}^{m}(y_t-\hat{y}_t)^2}&#10;\end{equation}&#10;&#10;\end{document}"/>
  <p:tag name="IGUANATEXSIZE" val="14"/>
  <p:tag name="IGUANATEXCURSOR" val="338"/>
  <p:tag name="TRANSPARENCY" val="True"/>
  <p:tag name="LATEXENGINEID" val="0"/>
  <p:tag name="TEMPFOLDER" val="c:\temp\"/>
  <p:tag name="LATEXFORMHEIGHT" val="320"/>
  <p:tag name="LATEXFORMWIDTH" val="385"/>
  <p:tag name="LATEXFORMWRAP" val="False"/>
  <p:tag name="BITMAPVECTOR" val="0"/>
</p:tagLst>
</file>

<file path=ppt/theme/theme1.xml><?xml version="1.0" encoding="utf-8"?>
<a:theme xmlns:a="http://schemas.openxmlformats.org/drawingml/2006/main" name="NRGi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t">
        <a:noAutofit/>
      </a:bodyPr>
      <a:lstStyle>
        <a:defPPr algn="l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mtClean="0">
            <a:solidFill>
              <a:schemeClr val="accent1"/>
            </a:solidFill>
          </a:defRPr>
        </a:defPPr>
      </a:lstStyle>
    </a:txDef>
  </a:objectDefaults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Powerpointskabelon_NRGi Elcon.pptx" id="{412641EB-9A04-4143-93A3-8ACC1CCD6C87}" vid="{A6BF625A-0080-43A5-9EBA-2F8D86D9ED34}"/>
    </a:ext>
  </a:extLst>
</a:theme>
</file>

<file path=ppt/theme/theme2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382</TotalTime>
  <Words>2888</Words>
  <Application>Microsoft Office PowerPoint</Application>
  <PresentationFormat>Widescreen</PresentationFormat>
  <Paragraphs>511</Paragraphs>
  <Slides>49</Slides>
  <Notes>46</Notes>
  <HiddenSlides>3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49</vt:i4>
      </vt:variant>
    </vt:vector>
  </HeadingPairs>
  <TitlesOfParts>
    <vt:vector size="55" baseType="lpstr">
      <vt:lpstr>Arial</vt:lpstr>
      <vt:lpstr>Calibri</vt:lpstr>
      <vt:lpstr>Cambria Math</vt:lpstr>
      <vt:lpstr>Corbel</vt:lpstr>
      <vt:lpstr>NRGi</vt:lpstr>
      <vt:lpstr>think-cell Slide</vt:lpstr>
      <vt:lpstr>Risikovurdering af entrepriseprojekter</vt:lpstr>
      <vt:lpstr>Agenda</vt:lpstr>
      <vt:lpstr>Agenda</vt:lpstr>
      <vt:lpstr>Kan maskinlæringsmodeller præcist forudsige marginer og risici på tværs af ELCONs forskellige entrepriseprojekter? </vt:lpstr>
      <vt:lpstr>PowerPoint-præsentation</vt:lpstr>
      <vt:lpstr>Problemformulering</vt:lpstr>
      <vt:lpstr>Problemformulering</vt:lpstr>
      <vt:lpstr>Problemformulering</vt:lpstr>
      <vt:lpstr>Agenda</vt:lpstr>
      <vt:lpstr>Metode</vt:lpstr>
      <vt:lpstr>Modeller</vt:lpstr>
      <vt:lpstr>Modeller</vt:lpstr>
      <vt:lpstr>Modeller</vt:lpstr>
      <vt:lpstr>Modeller</vt:lpstr>
      <vt:lpstr>Modeller</vt:lpstr>
      <vt:lpstr>Modeller</vt:lpstr>
      <vt:lpstr>Agenda</vt:lpstr>
      <vt:lpstr>Data</vt:lpstr>
      <vt:lpstr>Data - Prognoser</vt:lpstr>
      <vt:lpstr>Agenda</vt:lpstr>
      <vt:lpstr>Analyse</vt:lpstr>
      <vt:lpstr>Analyse</vt:lpstr>
      <vt:lpstr>Analyse</vt:lpstr>
      <vt:lpstr>Analyse</vt:lpstr>
      <vt:lpstr>Agenda</vt:lpstr>
      <vt:lpstr>Lineære modeller</vt:lpstr>
      <vt:lpstr>Resultater</vt:lpstr>
      <vt:lpstr>Resultater</vt:lpstr>
      <vt:lpstr>Resultater</vt:lpstr>
      <vt:lpstr>Resultater</vt:lpstr>
      <vt:lpstr>Resultater</vt:lpstr>
      <vt:lpstr>Resultater</vt:lpstr>
      <vt:lpstr>Resultater</vt:lpstr>
      <vt:lpstr>Resultater</vt:lpstr>
      <vt:lpstr>Maskinlæringsmodeller</vt:lpstr>
      <vt:lpstr>Resultater</vt:lpstr>
      <vt:lpstr>Resultater</vt:lpstr>
      <vt:lpstr>Resultater</vt:lpstr>
      <vt:lpstr>Resultater</vt:lpstr>
      <vt:lpstr>Resultater</vt:lpstr>
      <vt:lpstr>Resultater</vt:lpstr>
      <vt:lpstr>Resultater</vt:lpstr>
      <vt:lpstr>Resultater</vt:lpstr>
      <vt:lpstr>Deep Learning</vt:lpstr>
      <vt:lpstr>Resultater</vt:lpstr>
      <vt:lpstr>Resultater</vt:lpstr>
      <vt:lpstr>Resultater</vt:lpstr>
      <vt:lpstr>Agenda</vt:lpstr>
      <vt:lpstr>Diskussion af resultat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istisk Risikovurdering</dc:title>
  <dc:creator>Tobias Brammer</dc:creator>
  <cp:lastModifiedBy>Tobias Brammer</cp:lastModifiedBy>
  <cp:revision>3</cp:revision>
  <cp:lastPrinted>2021-01-06T12:41:59Z</cp:lastPrinted>
  <dcterms:created xsi:type="dcterms:W3CDTF">2023-02-21T13:26:08Z</dcterms:created>
  <dcterms:modified xsi:type="dcterms:W3CDTF">2023-12-08T10:28:20Z</dcterms:modified>
</cp:coreProperties>
</file>